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6"/>
    <p:sldMasterId id="2147483805" r:id="rId7"/>
  </p:sldMasterIdLst>
  <p:notesMasterIdLst>
    <p:notesMasterId r:id="rId19"/>
  </p:notesMasterIdLst>
  <p:handoutMasterIdLst>
    <p:handoutMasterId r:id="rId20"/>
  </p:handoutMasterIdLst>
  <p:sldIdLst>
    <p:sldId id="469" r:id="rId8"/>
    <p:sldId id="2147482724" r:id="rId9"/>
    <p:sldId id="2147482722" r:id="rId10"/>
    <p:sldId id="2147482725" r:id="rId11"/>
    <p:sldId id="2147482684" r:id="rId12"/>
    <p:sldId id="2147482705" r:id="rId13"/>
    <p:sldId id="2147482726" r:id="rId14"/>
    <p:sldId id="2147482736" r:id="rId15"/>
    <p:sldId id="2145706639" r:id="rId16"/>
    <p:sldId id="1669" r:id="rId17"/>
    <p:sldId id="486" r:id="rId18"/>
  </p:sldIdLst>
  <p:sldSz cx="9144000" cy="5143500" type="screen16x9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9">
          <p15:clr>
            <a:srgbClr val="A4A3A4"/>
          </p15:clr>
        </p15:guide>
        <p15:guide id="2" orient="horz" pos="696">
          <p15:clr>
            <a:srgbClr val="A4A3A4"/>
          </p15:clr>
        </p15:guide>
        <p15:guide id="3" orient="horz" pos="926">
          <p15:clr>
            <a:srgbClr val="A4A3A4"/>
          </p15:clr>
        </p15:guide>
        <p15:guide id="4" orient="horz" pos="2657">
          <p15:clr>
            <a:srgbClr val="A4A3A4"/>
          </p15:clr>
        </p15:guide>
        <p15:guide id="5" orient="horz" pos="232">
          <p15:clr>
            <a:srgbClr val="A4A3A4"/>
          </p15:clr>
        </p15:guide>
        <p15:guide id="6" orient="horz" pos="487">
          <p15:clr>
            <a:srgbClr val="A4A3A4"/>
          </p15:clr>
        </p15:guide>
        <p15:guide id="7" pos="241">
          <p15:clr>
            <a:srgbClr val="A4A3A4"/>
          </p15:clr>
        </p15:guide>
        <p15:guide id="8" orient="horz">
          <p15:clr>
            <a:srgbClr val="A4A3A4"/>
          </p15:clr>
        </p15:guide>
        <p15:guide id="9" orient="horz" pos="1337">
          <p15:clr>
            <a:srgbClr val="A4A3A4"/>
          </p15:clr>
        </p15:guide>
        <p15:guide id="10" orient="horz" pos="2653">
          <p15:clr>
            <a:srgbClr val="A4A3A4"/>
          </p15:clr>
        </p15:guide>
        <p15:guide id="11" orient="horz" pos="467">
          <p15:clr>
            <a:srgbClr val="A4A3A4"/>
          </p15:clr>
        </p15:guide>
        <p15:guide id="12" orient="horz" pos="3064">
          <p15:clr>
            <a:srgbClr val="A4A3A4"/>
          </p15:clr>
        </p15:guide>
        <p15:guide id="13" orient="horz" pos="845">
          <p15:clr>
            <a:srgbClr val="A4A3A4"/>
          </p15:clr>
        </p15:guide>
        <p15:guide id="14" orient="horz" pos="1492">
          <p15:clr>
            <a:srgbClr val="A4A3A4"/>
          </p15:clr>
        </p15:guide>
        <p15:guide id="15" orient="horz" pos="2339">
          <p15:clr>
            <a:srgbClr val="A4A3A4"/>
          </p15:clr>
        </p15:guide>
        <p15:guide id="16" orient="horz" pos="2848">
          <p15:clr>
            <a:srgbClr val="A4A3A4"/>
          </p15:clr>
        </p15:guide>
        <p15:guide id="17" orient="horz" pos="3239">
          <p15:clr>
            <a:srgbClr val="A4A3A4"/>
          </p15:clr>
        </p15:guide>
        <p15:guide id="18" orient="horz" pos="3149">
          <p15:clr>
            <a:srgbClr val="A4A3A4"/>
          </p15:clr>
        </p15:guide>
        <p15:guide id="19" orient="horz" pos="1037">
          <p15:clr>
            <a:srgbClr val="A4A3A4"/>
          </p15:clr>
        </p15:guide>
        <p15:guide id="20" pos="5759">
          <p15:clr>
            <a:srgbClr val="A4A3A4"/>
          </p15:clr>
        </p15:guide>
        <p15:guide id="21">
          <p15:clr>
            <a:srgbClr val="A4A3A4"/>
          </p15:clr>
        </p15:guide>
        <p15:guide id="22" pos="2880">
          <p15:clr>
            <a:srgbClr val="A4A3A4"/>
          </p15:clr>
        </p15:guide>
        <p15:guide id="23" pos="3312">
          <p15:clr>
            <a:srgbClr val="A4A3A4"/>
          </p15:clr>
        </p15:guide>
        <p15:guide id="24" pos="246">
          <p15:clr>
            <a:srgbClr val="A4A3A4"/>
          </p15:clr>
        </p15:guide>
        <p15:guide id="25" pos="5513">
          <p15:clr>
            <a:srgbClr val="A4A3A4"/>
          </p15:clr>
        </p15:guide>
        <p15:guide id="26" pos="4182">
          <p15:clr>
            <a:srgbClr val="A4A3A4"/>
          </p15:clr>
        </p15:guide>
        <p15:guide id="27" pos="1518">
          <p15:clr>
            <a:srgbClr val="A4A3A4"/>
          </p15:clr>
        </p15:guide>
        <p15:guide id="28" pos="370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F5F1"/>
    <a:srgbClr val="FF0066"/>
    <a:srgbClr val="981D97"/>
    <a:srgbClr val="007FA3"/>
    <a:srgbClr val="8C8D8D"/>
    <a:srgbClr val="F1F2F2"/>
    <a:srgbClr val="898989"/>
    <a:srgbClr val="FFFFFF"/>
    <a:srgbClr val="888A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136" autoAdjust="0"/>
    <p:restoredTop sz="90854" autoAdjust="0"/>
  </p:normalViewPr>
  <p:slideViewPr>
    <p:cSldViewPr snapToGrid="0" snapToObjects="1" showGuides="1">
      <p:cViewPr varScale="1">
        <p:scale>
          <a:sx n="194" d="100"/>
          <a:sy n="194" d="100"/>
        </p:scale>
        <p:origin x="1176" y="384"/>
      </p:cViewPr>
      <p:guideLst>
        <p:guide orient="horz" pos="2889"/>
        <p:guide orient="horz" pos="696"/>
        <p:guide orient="horz" pos="926"/>
        <p:guide orient="horz" pos="2657"/>
        <p:guide orient="horz" pos="232"/>
        <p:guide orient="horz" pos="487"/>
        <p:guide pos="241"/>
        <p:guide orient="horz"/>
        <p:guide orient="horz" pos="1337"/>
        <p:guide orient="horz" pos="2653"/>
        <p:guide orient="horz" pos="467"/>
        <p:guide orient="horz" pos="3064"/>
        <p:guide orient="horz" pos="845"/>
        <p:guide orient="horz" pos="1492"/>
        <p:guide orient="horz" pos="2339"/>
        <p:guide orient="horz" pos="2848"/>
        <p:guide orient="horz" pos="3239"/>
        <p:guide orient="horz" pos="3149"/>
        <p:guide orient="horz" pos="1037"/>
        <p:guide pos="5759"/>
        <p:guide/>
        <p:guide pos="2880"/>
        <p:guide pos="3312"/>
        <p:guide pos="246"/>
        <p:guide pos="5513"/>
        <p:guide pos="4182"/>
        <p:guide pos="1518"/>
        <p:guide pos="3708"/>
      </p:guideLst>
    </p:cSldViewPr>
  </p:slideViewPr>
  <p:outlineViewPr>
    <p:cViewPr>
      <p:scale>
        <a:sx n="33" d="100"/>
        <a:sy n="33" d="100"/>
      </p:scale>
      <p:origin x="0" y="1375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3828" y="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993E57-F06E-2343-8505-8306C931B374}" type="datetimeFigureOut">
              <a:rPr lang="en-US" smtClean="0"/>
              <a:pPr/>
              <a:t>11/21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BA0C0-C469-224C-A13F-1126ACE849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67666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E71FE8-551B-41D8-8E66-7D01683EE4D2}" type="datetimeFigureOut">
              <a:rPr lang="fi-FI" smtClean="0"/>
              <a:pPr/>
              <a:t>21.11.2025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65BE45-5FCE-418C-8A7C-9AF791EA8C8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294112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5640F4-6D61-7D9F-05C7-C471ACAB3D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5B0027-A4C6-E7F1-988F-3D2832BE12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1DDD187-7EC8-C9CC-7EAC-D61262932F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7135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</a:pPr>
            <a:endParaRPr lang="en-US" sz="18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22F29B-4088-4754-B2A6-A82AB17E16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79824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22F29B-4088-4754-B2A6-A82AB17E16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50208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22F29B-4088-4754-B2A6-A82AB17E16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72247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657206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002862"/>
            <a:ext cx="6012000" cy="2527205"/>
          </a:xfrm>
        </p:spPr>
        <p:txBody>
          <a:bodyPr anchor="b" anchorCtr="0">
            <a:noAutofit/>
          </a:bodyPr>
          <a:lstStyle>
            <a:lvl1pPr marL="0" algn="l" defTabSz="457200" rtl="0" eaLnBrk="1" latinLnBrk="0" hangingPunct="1">
              <a:lnSpc>
                <a:spcPct val="81000"/>
              </a:lnSpc>
              <a:spcBef>
                <a:spcPct val="0"/>
              </a:spcBef>
              <a:buNone/>
              <a:defRPr lang="en-US" sz="5500" b="1" i="0" kern="1200" cap="all" baseline="0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title styl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901558"/>
            <a:ext cx="6012000" cy="71985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lang="fi-FI" sz="16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en-US" dirty="0"/>
              <a:t>Click to add Date and Presente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4D25AB9-8020-4C3E-83A3-21C1C12A3332}"/>
              </a:ext>
            </a:extLst>
          </p:cNvPr>
          <p:cNvCxnSpPr>
            <a:cxnSpLocks/>
          </p:cNvCxnSpPr>
          <p:nvPr userDrawn="1"/>
        </p:nvCxnSpPr>
        <p:spPr>
          <a:xfrm>
            <a:off x="382588" y="3704500"/>
            <a:ext cx="764041" cy="0"/>
          </a:xfrm>
          <a:prstGeom prst="line">
            <a:avLst/>
          </a:prstGeom>
          <a:ln w="25400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D15EA37A-A1F0-409C-B851-F3DCE2A609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308" y="291516"/>
            <a:ext cx="1037554" cy="461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6449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8313" y="1235868"/>
            <a:ext cx="4097192" cy="338018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4633577" y="1235868"/>
            <a:ext cx="4096800" cy="338018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2846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383309"/>
            <a:ext cx="8361170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8313" y="1371600"/>
            <a:ext cx="4097192" cy="325397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4633577" y="1371600"/>
            <a:ext cx="4096800" cy="325397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741760"/>
            <a:ext cx="8361362" cy="513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74903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383309"/>
            <a:ext cx="8361170" cy="78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0632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383309"/>
            <a:ext cx="8361170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745403"/>
            <a:ext cx="8361362" cy="513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72795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50964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92112" y="1241824"/>
            <a:ext cx="4068000" cy="33837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4691008" y="1241823"/>
            <a:ext cx="4052750" cy="33837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Tx/>
              <a:buFont typeface="Calibri" panose="020F0502020204030204" pitchFamily="34" charset="0"/>
              <a:buNone/>
              <a:tabLst/>
              <a:defRPr/>
            </a:lvl1pPr>
          </a:lstStyle>
          <a:p>
            <a:r>
              <a:rPr lang="fi-FI" dirty="0"/>
              <a:t>Click icon to add picture</a:t>
            </a:r>
            <a:br>
              <a:rPr lang="fi-FI" dirty="0"/>
            </a:br>
            <a:br>
              <a:rPr lang="fi-FI" dirty="0"/>
            </a:br>
            <a:r>
              <a:rPr lang="en-US" cap="none" baseline="0" dirty="0"/>
              <a:t>Go to the speaker notes of this slide for instructions on how to add picture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576939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C88EB4CA-4AA0-454B-9AC4-F89332AEE1D5}"/>
              </a:ext>
            </a:extLst>
          </p:cNvPr>
          <p:cNvSpPr txBox="1"/>
          <p:nvPr userDrawn="1"/>
        </p:nvSpPr>
        <p:spPr>
          <a:xfrm>
            <a:off x="139468" y="4782845"/>
            <a:ext cx="658887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 dirty="0">
                <a:solidFill>
                  <a:schemeClr val="tx1"/>
                </a:solidFill>
              </a:rPr>
              <a:t>©2020 FIS and/or its subsidiaries. All Rights Reserved.</a:t>
            </a:r>
            <a:r>
              <a:rPr lang="en-US" sz="800" b="0" i="0" baseline="0" dirty="0">
                <a:solidFill>
                  <a:schemeClr val="tx1"/>
                </a:solidFill>
              </a:rPr>
              <a:t> </a:t>
            </a:r>
            <a:r>
              <a:rPr lang="en-US" sz="800" b="0" i="0" dirty="0">
                <a:solidFill>
                  <a:schemeClr val="tx1"/>
                </a:solidFill>
                <a:cs typeface="Arial"/>
              </a:rPr>
              <a:t>FIS confidential and proprietary information.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4BAA557-E5CE-49FE-AD47-FCC82C665B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8419" y="2143492"/>
            <a:ext cx="1927163" cy="856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5618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383309"/>
            <a:ext cx="8361170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CB8F72E-8BD8-4870-9A96-39F944C4E9AB}"/>
              </a:ext>
            </a:extLst>
          </p:cNvPr>
          <p:cNvSpPr/>
          <p:nvPr userDrawn="1"/>
        </p:nvSpPr>
        <p:spPr bwMode="ltGray">
          <a:xfrm>
            <a:off x="0" y="1058059"/>
            <a:ext cx="3044952" cy="1816168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22FA13-40E5-4038-B08A-D0079301B18E}"/>
              </a:ext>
            </a:extLst>
          </p:cNvPr>
          <p:cNvSpPr/>
          <p:nvPr userDrawn="1"/>
        </p:nvSpPr>
        <p:spPr bwMode="ltGray">
          <a:xfrm>
            <a:off x="3049524" y="2871835"/>
            <a:ext cx="3044952" cy="1823787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61EED13-E751-4EA1-AA4B-153601689933}"/>
              </a:ext>
            </a:extLst>
          </p:cNvPr>
          <p:cNvSpPr/>
          <p:nvPr userDrawn="1"/>
        </p:nvSpPr>
        <p:spPr bwMode="ltGray">
          <a:xfrm>
            <a:off x="6099049" y="1058059"/>
            <a:ext cx="3044952" cy="1816168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2D8F4FD-8926-46ED-8D91-D202631254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8816" y="2125439"/>
            <a:ext cx="2727318" cy="495942"/>
          </a:xfrm>
        </p:spPr>
        <p:txBody>
          <a:bodyPr tIns="0" rIns="0" bIns="0" anchor="t" anchorCtr="0">
            <a:noAutofit/>
          </a:bodyPr>
          <a:lstStyle>
            <a:lvl1pPr marL="0" indent="0" algn="ctr">
              <a:buNone/>
              <a:defRPr sz="1400" b="0" i="0">
                <a:solidFill>
                  <a:schemeClr val="accent2"/>
                </a:solidFill>
                <a:latin typeface="+mn-lt"/>
                <a:cs typeface="Foundry Context Demi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06ED07A-C7B5-4DD6-A7CB-A2EC481081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3642" y="2125439"/>
            <a:ext cx="2724912" cy="495942"/>
          </a:xfrm>
        </p:spPr>
        <p:txBody>
          <a:bodyPr tIns="0" rIns="0" bIns="0" anchor="t" anchorCtr="0">
            <a:noAutofit/>
          </a:bodyPr>
          <a:lstStyle>
            <a:lvl1pPr marL="0" indent="0" algn="ctr">
              <a:buNone/>
              <a:defRPr sz="1400" b="0" i="0">
                <a:solidFill>
                  <a:schemeClr val="accent2"/>
                </a:solidFill>
                <a:latin typeface="+mn-lt"/>
                <a:cs typeface="Foundry Context Demi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5514FB1B-8314-40B1-B683-85EC4E61F98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09544" y="2125439"/>
            <a:ext cx="2724912" cy="495942"/>
          </a:xfrm>
        </p:spPr>
        <p:txBody>
          <a:bodyPr tIns="0" rIns="0" bIns="0" anchor="t" anchorCtr="0">
            <a:noAutofit/>
          </a:bodyPr>
          <a:lstStyle>
            <a:lvl1pPr marL="0" indent="0" algn="ctr">
              <a:buNone/>
              <a:defRPr sz="1400" b="0" i="0">
                <a:solidFill>
                  <a:schemeClr val="accent2"/>
                </a:solidFill>
                <a:latin typeface="+mn-lt"/>
                <a:cs typeface="Foundry Context Regular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984D0D5-DEF4-4F05-95A5-0461B6BB115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63642" y="3942506"/>
            <a:ext cx="2724912" cy="495942"/>
          </a:xfrm>
        </p:spPr>
        <p:txBody>
          <a:bodyPr tIns="0" rIns="0" bIns="0" anchor="t" anchorCtr="0">
            <a:noAutofit/>
          </a:bodyPr>
          <a:lstStyle>
            <a:lvl1pPr marL="0" indent="0" algn="ctr">
              <a:buNone/>
              <a:defRPr sz="1400" b="0" i="0">
                <a:solidFill>
                  <a:schemeClr val="accent2"/>
                </a:solidFill>
                <a:latin typeface="+mn-lt"/>
                <a:cs typeface="Foundry Context Regular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0691E6F1-2137-4CF5-B843-ED864F27822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209544" y="3942506"/>
            <a:ext cx="2724912" cy="495942"/>
          </a:xfrm>
        </p:spPr>
        <p:txBody>
          <a:bodyPr tIns="0" rIns="0" bIns="0" anchor="t" anchorCtr="0">
            <a:noAutofit/>
          </a:bodyPr>
          <a:lstStyle>
            <a:lvl1pPr marL="0" indent="0" algn="ctr">
              <a:buNone/>
              <a:defRPr sz="1400" b="0" i="0">
                <a:solidFill>
                  <a:schemeClr val="accent2"/>
                </a:solidFill>
                <a:latin typeface="+mn-lt"/>
                <a:cs typeface="Foundry Context Demi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130BA57-3A10-4AA0-9B39-E475029419E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8816" y="3942506"/>
            <a:ext cx="2727318" cy="495942"/>
          </a:xfrm>
        </p:spPr>
        <p:txBody>
          <a:bodyPr tIns="0" rIns="0" bIns="0" anchor="t" anchorCtr="0">
            <a:noAutofit/>
          </a:bodyPr>
          <a:lstStyle>
            <a:lvl1pPr marL="0" indent="0" algn="ctr">
              <a:buNone/>
              <a:defRPr sz="1400" b="0" i="0">
                <a:solidFill>
                  <a:schemeClr val="accent2"/>
                </a:solidFill>
                <a:latin typeface="+mn-lt"/>
                <a:cs typeface="Foundry Context Regular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C470DEBA-0873-48D6-8127-F1B793A376B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58816" y="1337135"/>
            <a:ext cx="2727318" cy="636820"/>
          </a:xfrm>
        </p:spPr>
        <p:txBody>
          <a:bodyPr tIns="0" rIns="0" bIns="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62A82822-01BE-4B60-A2DC-4F894471573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209544" y="1337135"/>
            <a:ext cx="2724912" cy="636820"/>
          </a:xfrm>
        </p:spPr>
        <p:txBody>
          <a:bodyPr tIns="0" rIns="0" bIns="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C0505C07-347D-448D-BDBA-F9E6E37FA04D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263642" y="1337135"/>
            <a:ext cx="2724912" cy="636820"/>
          </a:xfrm>
        </p:spPr>
        <p:txBody>
          <a:bodyPr tIns="0" rIns="0" bIns="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7F0ADCFA-0E37-4E72-A92B-802E2F76B9E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209544" y="3158874"/>
            <a:ext cx="2724912" cy="636820"/>
          </a:xfrm>
        </p:spPr>
        <p:txBody>
          <a:bodyPr tIns="0" rIns="0" bIns="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E9D2949D-45F2-4FC7-83B9-580E9D7DE668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61458" y="3158874"/>
            <a:ext cx="2727318" cy="636820"/>
          </a:xfrm>
        </p:spPr>
        <p:txBody>
          <a:bodyPr tIns="0" rIns="0" bIns="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C0184F9-6484-45EA-8221-D2ADAA67BE1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263642" y="3158874"/>
            <a:ext cx="2724912" cy="636820"/>
          </a:xfrm>
        </p:spPr>
        <p:txBody>
          <a:bodyPr tIns="0" rIns="0" bIns="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3433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383309"/>
            <a:ext cx="8361170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A58602E-BBCB-48DF-99EE-078786C47972}"/>
              </a:ext>
            </a:extLst>
          </p:cNvPr>
          <p:cNvSpPr/>
          <p:nvPr userDrawn="1"/>
        </p:nvSpPr>
        <p:spPr bwMode="ltGray">
          <a:xfrm>
            <a:off x="0" y="1118454"/>
            <a:ext cx="1828800" cy="1748716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8FB0C30-B683-45E3-850D-7BE22CE7C097}"/>
              </a:ext>
            </a:extLst>
          </p:cNvPr>
          <p:cNvSpPr/>
          <p:nvPr userDrawn="1"/>
        </p:nvSpPr>
        <p:spPr bwMode="ltGray">
          <a:xfrm>
            <a:off x="3654136" y="1118454"/>
            <a:ext cx="1828800" cy="1748716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5E4872A-3124-4E10-BDD2-546F034FDA70}"/>
              </a:ext>
            </a:extLst>
          </p:cNvPr>
          <p:cNvSpPr/>
          <p:nvPr userDrawn="1"/>
        </p:nvSpPr>
        <p:spPr bwMode="ltGray">
          <a:xfrm>
            <a:off x="7302405" y="1118454"/>
            <a:ext cx="1838131" cy="1748716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ECCB1E9-0C00-40FF-A39C-E20EC0310787}"/>
              </a:ext>
            </a:extLst>
          </p:cNvPr>
          <p:cNvSpPr/>
          <p:nvPr userDrawn="1"/>
        </p:nvSpPr>
        <p:spPr bwMode="ltGray">
          <a:xfrm>
            <a:off x="1824062" y="2869530"/>
            <a:ext cx="1828800" cy="1748716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8A56E3E-3DF0-4903-B77C-E0E91E669682}"/>
              </a:ext>
            </a:extLst>
          </p:cNvPr>
          <p:cNvSpPr/>
          <p:nvPr userDrawn="1"/>
        </p:nvSpPr>
        <p:spPr bwMode="ltGray">
          <a:xfrm>
            <a:off x="5473605" y="2869530"/>
            <a:ext cx="1828800" cy="1748716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FF4093F-C7E2-4081-B7DE-F1C484860368}"/>
              </a:ext>
            </a:extLst>
          </p:cNvPr>
          <p:cNvSpPr/>
          <p:nvPr userDrawn="1"/>
        </p:nvSpPr>
        <p:spPr>
          <a:xfrm>
            <a:off x="7302405" y="2832953"/>
            <a:ext cx="1838131" cy="17096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8689FF4-41FB-461B-8FAB-B51AC8F32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1567" y="1337561"/>
            <a:ext cx="1536192" cy="1287911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600" b="0" i="0">
                <a:solidFill>
                  <a:schemeClr val="accent2"/>
                </a:solidFill>
                <a:latin typeface="+mn-lt"/>
                <a:cs typeface="Foundry Context Demi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AF64701-46A3-4B5B-ADF5-4A9BB90BD6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00440" y="1337561"/>
            <a:ext cx="1536192" cy="1287911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600" b="0" i="0">
                <a:solidFill>
                  <a:schemeClr val="accent2"/>
                </a:solidFill>
                <a:latin typeface="+mn-lt"/>
                <a:cs typeface="Foundry Context Demi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6AD7556A-C724-4F8E-9702-61BFD594B1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54805" y="1337561"/>
            <a:ext cx="1533331" cy="1287911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600" b="0" i="0">
                <a:solidFill>
                  <a:schemeClr val="accent2"/>
                </a:solidFill>
                <a:latin typeface="+mn-lt"/>
                <a:cs typeface="Foundry Context Demi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58F8CE21-919F-4707-AD2C-7F48DB9ABA1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0366" y="3090831"/>
            <a:ext cx="1536192" cy="1287911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600" b="0" i="0">
                <a:solidFill>
                  <a:schemeClr val="accent2"/>
                </a:solidFill>
                <a:latin typeface="+mn-lt"/>
                <a:cs typeface="Foundry Context Demi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DDE5E97C-30A6-4B33-B978-105A0EE9A16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24198" y="3090831"/>
            <a:ext cx="1536192" cy="1287911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600" b="0" i="0">
                <a:solidFill>
                  <a:schemeClr val="accent2"/>
                </a:solidFill>
                <a:latin typeface="+mn-lt"/>
                <a:cs typeface="Foundry Context Demi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563923C1-A0D9-44C8-8F6F-32526E7F7A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70366" y="1337561"/>
            <a:ext cx="1536192" cy="1287911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400" b="0" i="0">
                <a:solidFill>
                  <a:schemeClr val="accent2"/>
                </a:solidFill>
                <a:latin typeface="+mn-lt"/>
                <a:cs typeface="Foundry Context Regular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D2D4CA5C-3495-4C2C-8E9A-16CFB3F6BC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24198" y="1337561"/>
            <a:ext cx="1536192" cy="1287911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400" b="0" i="0">
                <a:solidFill>
                  <a:schemeClr val="accent2"/>
                </a:solidFill>
                <a:latin typeface="+mn-lt"/>
                <a:cs typeface="Foundry Context Regular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BB84D64E-61DA-4CC5-80B8-4648F13AFD4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00440" y="3090831"/>
            <a:ext cx="1536192" cy="1287911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400" b="0" i="0">
                <a:solidFill>
                  <a:schemeClr val="accent2"/>
                </a:solidFill>
                <a:latin typeface="+mn-lt"/>
                <a:cs typeface="Foundry Context Regular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3FBA56D4-C208-4129-948E-11AF074F4D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454805" y="3090831"/>
            <a:ext cx="1533331" cy="1287911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400" b="0" i="0">
                <a:solidFill>
                  <a:schemeClr val="accent2"/>
                </a:solidFill>
                <a:latin typeface="+mn-lt"/>
                <a:cs typeface="Foundry Context Regular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6907C351-9ABB-4D00-98D7-C8EEE45DEA1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41567" y="3090831"/>
            <a:ext cx="1536192" cy="1287911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400" b="0" i="0">
                <a:solidFill>
                  <a:schemeClr val="accent2"/>
                </a:solidFill>
                <a:latin typeface="+mn-lt"/>
                <a:cs typeface="Foundry Context Regular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14381072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383309"/>
            <a:ext cx="8361170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58D3A2F-91E7-466F-B735-D49123052215}"/>
              </a:ext>
            </a:extLst>
          </p:cNvPr>
          <p:cNvSpPr/>
          <p:nvPr userDrawn="1"/>
        </p:nvSpPr>
        <p:spPr bwMode="ltGray">
          <a:xfrm>
            <a:off x="0" y="974817"/>
            <a:ext cx="1828800" cy="2234377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5CA128E-575E-4E48-A2BD-A2D6837FFE9C}"/>
              </a:ext>
            </a:extLst>
          </p:cNvPr>
          <p:cNvSpPr/>
          <p:nvPr userDrawn="1"/>
        </p:nvSpPr>
        <p:spPr bwMode="ltGray">
          <a:xfrm>
            <a:off x="3657600" y="974817"/>
            <a:ext cx="1828800" cy="2234377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391657-195D-46FE-80AB-C9D04B47D1BF}"/>
              </a:ext>
            </a:extLst>
          </p:cNvPr>
          <p:cNvSpPr/>
          <p:nvPr userDrawn="1"/>
        </p:nvSpPr>
        <p:spPr bwMode="ltGray">
          <a:xfrm>
            <a:off x="7315200" y="974817"/>
            <a:ext cx="1828800" cy="2234377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67665E5-8F06-4576-A118-058A30607939}"/>
              </a:ext>
            </a:extLst>
          </p:cNvPr>
          <p:cNvSpPr/>
          <p:nvPr userDrawn="1"/>
        </p:nvSpPr>
        <p:spPr bwMode="ltGray">
          <a:xfrm>
            <a:off x="0" y="3222038"/>
            <a:ext cx="9144000" cy="142402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ED8F16E-47DB-4062-BC8A-FC8460EC2E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6304" y="1153649"/>
            <a:ext cx="1536192" cy="1901574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600" b="0" i="0">
                <a:solidFill>
                  <a:schemeClr val="accent2"/>
                </a:solidFill>
                <a:latin typeface="+mn-lt"/>
                <a:cs typeface="Foundry Context Demi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C353966-E92D-4F39-A274-65656295D0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03904" y="1153649"/>
            <a:ext cx="1536192" cy="1901574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600" b="0" i="0">
                <a:solidFill>
                  <a:schemeClr val="accent2"/>
                </a:solidFill>
                <a:latin typeface="+mn-lt"/>
                <a:cs typeface="Foundry Context Demi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E2B2D0B-832D-4E0E-A99F-ABB4468433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61504" y="1153649"/>
            <a:ext cx="1536192" cy="1901574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600" b="0" i="0">
                <a:solidFill>
                  <a:schemeClr val="accent2"/>
                </a:solidFill>
                <a:latin typeface="+mn-lt"/>
                <a:cs typeface="Foundry Context Demi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2A90B2AC-615F-4025-BC55-96931C68AA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75104" y="1154681"/>
            <a:ext cx="1536192" cy="1901574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400" b="0" i="0">
                <a:solidFill>
                  <a:schemeClr val="accent2"/>
                </a:solidFill>
                <a:latin typeface="+mn-lt"/>
                <a:cs typeface="Foundry Context Regular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5F97208-2C9C-4CCE-ABFF-912655E3EB5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32704" y="1154681"/>
            <a:ext cx="1536192" cy="1901574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400" b="0" i="0">
                <a:solidFill>
                  <a:schemeClr val="accent2"/>
                </a:solidFill>
                <a:latin typeface="+mn-lt"/>
                <a:cs typeface="Foundry Context Regular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ext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4BC22221-E09A-4164-8C8E-FA38BBE6CB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0766" y="3324542"/>
            <a:ext cx="8322468" cy="1180908"/>
          </a:xfrm>
        </p:spPr>
        <p:txBody>
          <a:bodyPr tIns="0" rIns="0" bIns="0" anchor="ctr" anchorCtr="0">
            <a:noAutofit/>
          </a:bodyPr>
          <a:lstStyle>
            <a:lvl1pPr marL="0" indent="0" algn="ctr">
              <a:buNone/>
              <a:defRPr sz="1600" b="0" i="0">
                <a:solidFill>
                  <a:schemeClr val="bg1"/>
                </a:solidFill>
                <a:latin typeface="+mn-lt"/>
                <a:cs typeface="Foundry Context Demi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0135518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green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002862"/>
            <a:ext cx="6012000" cy="2527205"/>
          </a:xfrm>
        </p:spPr>
        <p:txBody>
          <a:bodyPr anchor="b" anchorCtr="0">
            <a:noAutofit/>
          </a:bodyPr>
          <a:lstStyle>
            <a:lvl1pPr marL="0" algn="l" defTabSz="457200" rtl="0" eaLnBrk="1" latinLnBrk="0" hangingPunct="1">
              <a:lnSpc>
                <a:spcPct val="81000"/>
              </a:lnSpc>
              <a:spcBef>
                <a:spcPct val="0"/>
              </a:spcBef>
              <a:buNone/>
              <a:defRPr lang="en-US" sz="5500" b="1" i="0" kern="1200" cap="all" baseline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title styl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901558"/>
            <a:ext cx="6012000" cy="71985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lang="fi-FI" sz="16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en-US" dirty="0"/>
              <a:t>Click to add Date and Presente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4D25AB9-8020-4C3E-83A3-21C1C12A3332}"/>
              </a:ext>
            </a:extLst>
          </p:cNvPr>
          <p:cNvCxnSpPr>
            <a:cxnSpLocks/>
          </p:cNvCxnSpPr>
          <p:nvPr userDrawn="1"/>
        </p:nvCxnSpPr>
        <p:spPr>
          <a:xfrm>
            <a:off x="382588" y="3704500"/>
            <a:ext cx="764041" cy="0"/>
          </a:xfrm>
          <a:prstGeom prst="line">
            <a:avLst/>
          </a:prstGeom>
          <a:ln w="25400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31FBB60A-F2DC-403D-B03B-6D948F87CE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069" y="285938"/>
            <a:ext cx="1055460" cy="469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8482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383309"/>
            <a:ext cx="8361170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F0880C9-185E-4D88-A88F-175FF8B7B830}"/>
              </a:ext>
            </a:extLst>
          </p:cNvPr>
          <p:cNvSpPr/>
          <p:nvPr userDrawn="1"/>
        </p:nvSpPr>
        <p:spPr bwMode="ltGray">
          <a:xfrm>
            <a:off x="-8819" y="1127400"/>
            <a:ext cx="2286000" cy="3547661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7626813-6429-405A-94A1-86E5569A2C80}"/>
              </a:ext>
            </a:extLst>
          </p:cNvPr>
          <p:cNvSpPr/>
          <p:nvPr userDrawn="1"/>
        </p:nvSpPr>
        <p:spPr bwMode="ltGray">
          <a:xfrm>
            <a:off x="4563181" y="1127400"/>
            <a:ext cx="2286000" cy="3547661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D0EE129-9A79-4713-843A-E53E070DB7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9679" y="3069903"/>
            <a:ext cx="1920240" cy="1396462"/>
          </a:xfrm>
        </p:spPr>
        <p:txBody>
          <a:bodyPr tIns="0" rIns="0" bIns="0"/>
          <a:lstStyle>
            <a:lvl1pPr marL="0" indent="0">
              <a:buNone/>
              <a:defRPr sz="1100" b="0" i="0">
                <a:solidFill>
                  <a:schemeClr val="accent2"/>
                </a:solidFill>
                <a:latin typeface="+mj-lt"/>
                <a:cs typeface="Arial"/>
              </a:defRPr>
            </a:lvl1pPr>
            <a:lvl2pPr marL="228600" indent="0">
              <a:buNone/>
              <a:defRPr sz="1400">
                <a:solidFill>
                  <a:schemeClr val="bg1"/>
                </a:solidFill>
              </a:defRPr>
            </a:lvl2pPr>
            <a:lvl3pPr marL="457200" indent="0">
              <a:buNone/>
              <a:defRPr sz="1200">
                <a:solidFill>
                  <a:schemeClr val="bg1"/>
                </a:solidFill>
              </a:defRPr>
            </a:lvl3pPr>
            <a:lvl4pPr marL="685800" indent="0">
              <a:buNone/>
              <a:defRPr sz="1100">
                <a:solidFill>
                  <a:schemeClr val="bg1"/>
                </a:solidFill>
              </a:defRPr>
            </a:lvl4pPr>
            <a:lvl5pPr marL="914400" indent="0">
              <a:buNone/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FE4881F3-5AA1-464E-9135-190BFCA8EC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55038" y="3069902"/>
            <a:ext cx="1920240" cy="1396461"/>
          </a:xfrm>
        </p:spPr>
        <p:txBody>
          <a:bodyPr tIns="0" rIns="0" bIns="0"/>
          <a:lstStyle>
            <a:lvl1pPr marL="0" indent="0">
              <a:buNone/>
              <a:defRPr sz="1100" b="0" i="0">
                <a:solidFill>
                  <a:schemeClr val="accent2"/>
                </a:solidFill>
                <a:latin typeface="+mj-lt"/>
                <a:cs typeface="Arial"/>
              </a:defRPr>
            </a:lvl1pPr>
            <a:lvl2pPr marL="228600" indent="0">
              <a:buNone/>
              <a:defRPr sz="1400">
                <a:solidFill>
                  <a:schemeClr val="bg1"/>
                </a:solidFill>
              </a:defRPr>
            </a:lvl2pPr>
            <a:lvl3pPr marL="457200" indent="0">
              <a:buNone/>
              <a:defRPr sz="1200">
                <a:solidFill>
                  <a:schemeClr val="bg1"/>
                </a:solidFill>
              </a:defRPr>
            </a:lvl3pPr>
            <a:lvl4pPr marL="685800" indent="0">
              <a:buNone/>
              <a:defRPr sz="1100">
                <a:solidFill>
                  <a:schemeClr val="bg1"/>
                </a:solidFill>
              </a:defRPr>
            </a:lvl4pPr>
            <a:lvl5pPr marL="914400" indent="0">
              <a:buNone/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C2D9B90-B133-4CF7-A1CA-DBA3B58DD6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2187" y="3069902"/>
            <a:ext cx="1920240" cy="1396461"/>
          </a:xfrm>
        </p:spPr>
        <p:txBody>
          <a:bodyPr tIns="0" rIns="0" bIns="0"/>
          <a:lstStyle>
            <a:lvl1pPr marL="0" indent="0">
              <a:buNone/>
              <a:defRPr sz="1100" b="0" i="0">
                <a:solidFill>
                  <a:schemeClr val="accent2"/>
                </a:solidFill>
                <a:latin typeface="+mj-lt"/>
                <a:cs typeface="Arial"/>
              </a:defRPr>
            </a:lvl1pPr>
            <a:lvl2pPr marL="228600" indent="0">
              <a:buNone/>
              <a:defRPr sz="1400">
                <a:solidFill>
                  <a:schemeClr val="bg1"/>
                </a:solidFill>
              </a:defRPr>
            </a:lvl2pPr>
            <a:lvl3pPr marL="457200" indent="0">
              <a:buNone/>
              <a:defRPr sz="1200">
                <a:solidFill>
                  <a:schemeClr val="bg1"/>
                </a:solidFill>
              </a:defRPr>
            </a:lvl3pPr>
            <a:lvl4pPr marL="685800" indent="0">
              <a:buNone/>
              <a:defRPr sz="1100">
                <a:solidFill>
                  <a:schemeClr val="bg1"/>
                </a:solidFill>
              </a:defRPr>
            </a:lvl4pPr>
            <a:lvl5pPr marL="914400" indent="0">
              <a:buNone/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F9E015-A047-4E97-895B-6CCED96E5E1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41342" y="3069902"/>
            <a:ext cx="1920240" cy="1396461"/>
          </a:xfrm>
        </p:spPr>
        <p:txBody>
          <a:bodyPr tIns="0" rIns="0" bIns="0"/>
          <a:lstStyle>
            <a:lvl1pPr marL="0" indent="0">
              <a:buNone/>
              <a:defRPr sz="1100" b="0" i="0">
                <a:solidFill>
                  <a:schemeClr val="accent2"/>
                </a:solidFill>
                <a:latin typeface="+mj-lt"/>
                <a:cs typeface="Arial"/>
              </a:defRPr>
            </a:lvl1pPr>
            <a:lvl2pPr marL="228600" indent="0">
              <a:buNone/>
              <a:defRPr sz="1400">
                <a:solidFill>
                  <a:schemeClr val="bg1"/>
                </a:solidFill>
              </a:defRPr>
            </a:lvl2pPr>
            <a:lvl3pPr marL="457200" indent="0">
              <a:buNone/>
              <a:defRPr sz="1200">
                <a:solidFill>
                  <a:schemeClr val="bg1"/>
                </a:solidFill>
              </a:defRPr>
            </a:lvl3pPr>
            <a:lvl4pPr marL="685800" indent="0">
              <a:buNone/>
              <a:defRPr sz="1100">
                <a:solidFill>
                  <a:schemeClr val="bg1"/>
                </a:solidFill>
              </a:defRPr>
            </a:lvl4pPr>
            <a:lvl5pPr marL="914400" indent="0">
              <a:buNone/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4AA6A48B-C5B1-4E36-AFB6-7061A556D3F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56547" y="1399726"/>
            <a:ext cx="1746504" cy="1417358"/>
          </a:xfrm>
        </p:spPr>
        <p:txBody>
          <a:bodyPr tIns="0" rIns="0" bIns="0" anchor="ctr" anchorCtr="0"/>
          <a:lstStyle>
            <a:lvl1pPr marL="0" indent="0" algn="ctr">
              <a:buNone/>
              <a:defRPr sz="160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83E92271-CB0B-468E-9088-18E21447C7C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2541906" y="1399726"/>
            <a:ext cx="1746504" cy="1417358"/>
          </a:xfrm>
        </p:spPr>
        <p:txBody>
          <a:bodyPr tIns="0" rIns="0" bIns="0" anchor="ctr" anchorCtr="0"/>
          <a:lstStyle>
            <a:lvl1pPr marL="0" indent="0" algn="ctr">
              <a:buNone/>
              <a:defRPr sz="160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C11136D-2DCA-404D-91F0-16836EF0E83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829055" y="1399726"/>
            <a:ext cx="1746504" cy="1417358"/>
          </a:xfrm>
        </p:spPr>
        <p:txBody>
          <a:bodyPr tIns="0" rIns="0" bIns="0" anchor="ctr" anchorCtr="0"/>
          <a:lstStyle>
            <a:lvl1pPr marL="0" indent="0" algn="ctr">
              <a:buNone/>
              <a:defRPr sz="1600"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364EF4C-7849-406B-AE4C-BFEA899B362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128210" y="1399726"/>
            <a:ext cx="1746504" cy="1417358"/>
          </a:xfrm>
        </p:spPr>
        <p:txBody>
          <a:bodyPr tIns="0" rIns="0" bIns="0" anchor="ctr" anchorCtr="0"/>
          <a:lstStyle>
            <a:lvl1pPr marL="0" indent="0" algn="ctr">
              <a:buNone/>
              <a:defRPr sz="160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8709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383309"/>
            <a:ext cx="4760101" cy="360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90528" y="1374774"/>
            <a:ext cx="4760102" cy="325080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A5E010C8-FB5F-4115-A26C-9592F8820FF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03074" y="0"/>
            <a:ext cx="3840926" cy="462557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402889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34">
            <a:extLst>
              <a:ext uri="{FF2B5EF4-FFF2-40B4-BE49-F238E27FC236}">
                <a16:creationId xmlns:a16="http://schemas.microsoft.com/office/drawing/2014/main" id="{394B3B32-2383-40C3-8C2F-FAE6BEB7DF0E}"/>
              </a:ext>
            </a:extLst>
          </p:cNvPr>
          <p:cNvSpPr/>
          <p:nvPr userDrawn="1"/>
        </p:nvSpPr>
        <p:spPr>
          <a:xfrm flipV="1">
            <a:off x="0" y="0"/>
            <a:ext cx="9144000" cy="1531898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81" tIns="17140" rIns="34281" bIns="17140" rtlCol="0" anchor="ctr"/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7" y="383308"/>
            <a:ext cx="3487789" cy="96205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90528" y="1893651"/>
            <a:ext cx="3478063" cy="273192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39" name="Группа 69">
            <a:extLst>
              <a:ext uri="{FF2B5EF4-FFF2-40B4-BE49-F238E27FC236}">
                <a16:creationId xmlns:a16="http://schemas.microsoft.com/office/drawing/2014/main" id="{EF6E67C5-207D-4A0A-A588-7ED021879BF8}"/>
              </a:ext>
            </a:extLst>
          </p:cNvPr>
          <p:cNvGrpSpPr/>
          <p:nvPr userDrawn="1"/>
        </p:nvGrpSpPr>
        <p:grpSpPr>
          <a:xfrm>
            <a:off x="4058976" y="633998"/>
            <a:ext cx="2079096" cy="3962743"/>
            <a:chOff x="-3543473" y="-4875014"/>
            <a:chExt cx="3414713" cy="6508750"/>
          </a:xfrm>
          <a:effectLst>
            <a:reflection blurRad="50800" stA="50000" endPos="2000" dist="38100" dir="5400000" sy="-100000" algn="bl" rotWithShape="0"/>
          </a:effectLst>
        </p:grpSpPr>
        <p:sp>
          <p:nvSpPr>
            <p:cNvPr id="40" name="Freeform 5">
              <a:extLst>
                <a:ext uri="{FF2B5EF4-FFF2-40B4-BE49-F238E27FC236}">
                  <a16:creationId xmlns:a16="http://schemas.microsoft.com/office/drawing/2014/main" id="{FFC9FDF1-6E7C-490E-B165-CE74CCAD5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6508750"/>
            </a:xfrm>
            <a:custGeom>
              <a:avLst/>
              <a:gdLst>
                <a:gd name="T0" fmla="*/ 595 w 690"/>
                <a:gd name="T1" fmla="*/ 1338 h 1338"/>
                <a:gd name="T2" fmla="*/ 95 w 690"/>
                <a:gd name="T3" fmla="*/ 1338 h 1338"/>
                <a:gd name="T4" fmla="*/ 0 w 690"/>
                <a:gd name="T5" fmla="*/ 1243 h 1338"/>
                <a:gd name="T6" fmla="*/ 0 w 690"/>
                <a:gd name="T7" fmla="*/ 95 h 1338"/>
                <a:gd name="T8" fmla="*/ 95 w 690"/>
                <a:gd name="T9" fmla="*/ 0 h 1338"/>
                <a:gd name="T10" fmla="*/ 595 w 690"/>
                <a:gd name="T11" fmla="*/ 0 h 1338"/>
                <a:gd name="T12" fmla="*/ 690 w 690"/>
                <a:gd name="T13" fmla="*/ 95 h 1338"/>
                <a:gd name="T14" fmla="*/ 690 w 690"/>
                <a:gd name="T15" fmla="*/ 1243 h 1338"/>
                <a:gd name="T16" fmla="*/ 595 w 690"/>
                <a:gd name="T17" fmla="*/ 1338 h 1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338">
                  <a:moveTo>
                    <a:pt x="595" y="1338"/>
                  </a:moveTo>
                  <a:cubicBezTo>
                    <a:pt x="95" y="1338"/>
                    <a:pt x="95" y="1338"/>
                    <a:pt x="95" y="1338"/>
                  </a:cubicBezTo>
                  <a:cubicBezTo>
                    <a:pt x="43" y="1338"/>
                    <a:pt x="0" y="1296"/>
                    <a:pt x="0" y="1243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42"/>
                    <a:pt x="43" y="0"/>
                    <a:pt x="95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648" y="0"/>
                    <a:pt x="690" y="42"/>
                    <a:pt x="690" y="95"/>
                  </a:cubicBezTo>
                  <a:cubicBezTo>
                    <a:pt x="690" y="1243"/>
                    <a:pt x="690" y="1243"/>
                    <a:pt x="690" y="1243"/>
                  </a:cubicBezTo>
                  <a:cubicBezTo>
                    <a:pt x="690" y="1296"/>
                    <a:pt x="648" y="1338"/>
                    <a:pt x="595" y="133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C2F9E074-F63D-426A-A5C8-DCCE4291BA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56160" y="-4816276"/>
              <a:ext cx="3240088" cy="6391275"/>
            </a:xfrm>
            <a:custGeom>
              <a:avLst/>
              <a:gdLst>
                <a:gd name="T0" fmla="*/ 583 w 666"/>
                <a:gd name="T1" fmla="*/ 1314 h 1314"/>
                <a:gd name="T2" fmla="*/ 83 w 666"/>
                <a:gd name="T3" fmla="*/ 1314 h 1314"/>
                <a:gd name="T4" fmla="*/ 0 w 666"/>
                <a:gd name="T5" fmla="*/ 1231 h 1314"/>
                <a:gd name="T6" fmla="*/ 0 w 666"/>
                <a:gd name="T7" fmla="*/ 83 h 1314"/>
                <a:gd name="T8" fmla="*/ 83 w 666"/>
                <a:gd name="T9" fmla="*/ 0 h 1314"/>
                <a:gd name="T10" fmla="*/ 583 w 666"/>
                <a:gd name="T11" fmla="*/ 0 h 1314"/>
                <a:gd name="T12" fmla="*/ 666 w 666"/>
                <a:gd name="T13" fmla="*/ 83 h 1314"/>
                <a:gd name="T14" fmla="*/ 666 w 666"/>
                <a:gd name="T15" fmla="*/ 1231 h 1314"/>
                <a:gd name="T16" fmla="*/ 583 w 666"/>
                <a:gd name="T17" fmla="*/ 1314 h 1314"/>
                <a:gd name="T18" fmla="*/ 83 w 666"/>
                <a:gd name="T19" fmla="*/ 2 h 1314"/>
                <a:gd name="T20" fmla="*/ 2 w 666"/>
                <a:gd name="T21" fmla="*/ 83 h 1314"/>
                <a:gd name="T22" fmla="*/ 2 w 666"/>
                <a:gd name="T23" fmla="*/ 1231 h 1314"/>
                <a:gd name="T24" fmla="*/ 83 w 666"/>
                <a:gd name="T25" fmla="*/ 1312 h 1314"/>
                <a:gd name="T26" fmla="*/ 583 w 666"/>
                <a:gd name="T27" fmla="*/ 1312 h 1314"/>
                <a:gd name="T28" fmla="*/ 664 w 666"/>
                <a:gd name="T29" fmla="*/ 1231 h 1314"/>
                <a:gd name="T30" fmla="*/ 664 w 666"/>
                <a:gd name="T31" fmla="*/ 83 h 1314"/>
                <a:gd name="T32" fmla="*/ 583 w 666"/>
                <a:gd name="T33" fmla="*/ 2 h 1314"/>
                <a:gd name="T34" fmla="*/ 83 w 666"/>
                <a:gd name="T35" fmla="*/ 2 h 1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6" h="1314">
                  <a:moveTo>
                    <a:pt x="583" y="1314"/>
                  </a:moveTo>
                  <a:cubicBezTo>
                    <a:pt x="83" y="1314"/>
                    <a:pt x="83" y="1314"/>
                    <a:pt x="83" y="1314"/>
                  </a:cubicBezTo>
                  <a:cubicBezTo>
                    <a:pt x="37" y="1314"/>
                    <a:pt x="0" y="1277"/>
                    <a:pt x="0" y="1231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583" y="0"/>
                    <a:pt x="583" y="0"/>
                    <a:pt x="583" y="0"/>
                  </a:cubicBezTo>
                  <a:cubicBezTo>
                    <a:pt x="629" y="0"/>
                    <a:pt x="666" y="37"/>
                    <a:pt x="666" y="83"/>
                  </a:cubicBezTo>
                  <a:cubicBezTo>
                    <a:pt x="666" y="1231"/>
                    <a:pt x="666" y="1231"/>
                    <a:pt x="666" y="1231"/>
                  </a:cubicBezTo>
                  <a:cubicBezTo>
                    <a:pt x="666" y="1277"/>
                    <a:pt x="629" y="1314"/>
                    <a:pt x="583" y="1314"/>
                  </a:cubicBezTo>
                  <a:close/>
                  <a:moveTo>
                    <a:pt x="83" y="2"/>
                  </a:moveTo>
                  <a:cubicBezTo>
                    <a:pt x="38" y="2"/>
                    <a:pt x="2" y="38"/>
                    <a:pt x="2" y="83"/>
                  </a:cubicBezTo>
                  <a:cubicBezTo>
                    <a:pt x="2" y="1231"/>
                    <a:pt x="2" y="1231"/>
                    <a:pt x="2" y="1231"/>
                  </a:cubicBezTo>
                  <a:cubicBezTo>
                    <a:pt x="2" y="1276"/>
                    <a:pt x="38" y="1312"/>
                    <a:pt x="83" y="1312"/>
                  </a:cubicBezTo>
                  <a:cubicBezTo>
                    <a:pt x="583" y="1312"/>
                    <a:pt x="583" y="1312"/>
                    <a:pt x="583" y="1312"/>
                  </a:cubicBezTo>
                  <a:cubicBezTo>
                    <a:pt x="628" y="1312"/>
                    <a:pt x="664" y="1276"/>
                    <a:pt x="664" y="1231"/>
                  </a:cubicBezTo>
                  <a:cubicBezTo>
                    <a:pt x="664" y="83"/>
                    <a:pt x="664" y="83"/>
                    <a:pt x="664" y="83"/>
                  </a:cubicBezTo>
                  <a:cubicBezTo>
                    <a:pt x="664" y="38"/>
                    <a:pt x="628" y="2"/>
                    <a:pt x="583" y="2"/>
                  </a:cubicBezTo>
                  <a:lnTo>
                    <a:pt x="83" y="2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Freeform 8">
              <a:extLst>
                <a:ext uri="{FF2B5EF4-FFF2-40B4-BE49-F238E27FC236}">
                  <a16:creationId xmlns:a16="http://schemas.microsoft.com/office/drawing/2014/main" id="{99DB5C4F-788A-4FC8-BFD1-E7FEE2F60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73025"/>
            </a:xfrm>
            <a:custGeom>
              <a:avLst/>
              <a:gdLst>
                <a:gd name="T0" fmla="*/ 74 w 81"/>
                <a:gd name="T1" fmla="*/ 0 h 15"/>
                <a:gd name="T2" fmla="*/ 7 w 81"/>
                <a:gd name="T3" fmla="*/ 0 h 15"/>
                <a:gd name="T4" fmla="*/ 0 w 81"/>
                <a:gd name="T5" fmla="*/ 7 h 15"/>
                <a:gd name="T6" fmla="*/ 7 w 81"/>
                <a:gd name="T7" fmla="*/ 15 h 15"/>
                <a:gd name="T8" fmla="*/ 74 w 81"/>
                <a:gd name="T9" fmla="*/ 15 h 15"/>
                <a:gd name="T10" fmla="*/ 81 w 81"/>
                <a:gd name="T11" fmla="*/ 7 h 15"/>
                <a:gd name="T12" fmla="*/ 74 w 81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">
                  <a:moveTo>
                    <a:pt x="7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5"/>
                    <a:pt x="7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8" y="15"/>
                    <a:pt x="81" y="11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lose/>
                </a:path>
              </a:pathLst>
            </a:cu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" name="Freeform 9">
              <a:extLst>
                <a:ext uri="{FF2B5EF4-FFF2-40B4-BE49-F238E27FC236}">
                  <a16:creationId xmlns:a16="http://schemas.microsoft.com/office/drawing/2014/main" id="{2B84CB88-062F-4613-B126-B1C3EA4881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4637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Freeform 10">
              <a:extLst>
                <a:ext uri="{FF2B5EF4-FFF2-40B4-BE49-F238E27FC236}">
                  <a16:creationId xmlns:a16="http://schemas.microsoft.com/office/drawing/2014/main" id="{B31B8254-C935-468B-978C-41D22DA8C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916164"/>
              <a:ext cx="28575" cy="209550"/>
            </a:xfrm>
            <a:custGeom>
              <a:avLst/>
              <a:gdLst>
                <a:gd name="T0" fmla="*/ 5 w 6"/>
                <a:gd name="T1" fmla="*/ 0 h 43"/>
                <a:gd name="T2" fmla="*/ 0 w 6"/>
                <a:gd name="T3" fmla="*/ 4 h 43"/>
                <a:gd name="T4" fmla="*/ 0 w 6"/>
                <a:gd name="T5" fmla="*/ 39 h 43"/>
                <a:gd name="T6" fmla="*/ 5 w 6"/>
                <a:gd name="T7" fmla="*/ 43 h 43"/>
                <a:gd name="T8" fmla="*/ 6 w 6"/>
                <a:gd name="T9" fmla="*/ 43 h 43"/>
                <a:gd name="T10" fmla="*/ 6 w 6"/>
                <a:gd name="T11" fmla="*/ 0 h 43"/>
                <a:gd name="T12" fmla="*/ 5 w 6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3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2" y="43"/>
                    <a:pt x="5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Freeform 11">
              <a:extLst>
                <a:ext uri="{FF2B5EF4-FFF2-40B4-BE49-F238E27FC236}">
                  <a16:creationId xmlns:a16="http://schemas.microsoft.com/office/drawing/2014/main" id="{0601D483-F612-4AB0-9084-7FDB55684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29430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Freeform 12">
              <a:extLst>
                <a:ext uri="{FF2B5EF4-FFF2-40B4-BE49-F238E27FC236}">
                  <a16:creationId xmlns:a16="http://schemas.microsoft.com/office/drawing/2014/main" id="{0D8401AB-1D65-486C-8719-E4446C4E4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1141611"/>
              <a:ext cx="3357563" cy="492125"/>
            </a:xfrm>
            <a:custGeom>
              <a:avLst/>
              <a:gdLst>
                <a:gd name="T0" fmla="*/ 595 w 690"/>
                <a:gd name="T1" fmla="*/ 95 h 101"/>
                <a:gd name="T2" fmla="*/ 95 w 690"/>
                <a:gd name="T3" fmla="*/ 95 h 101"/>
                <a:gd name="T4" fmla="*/ 0 w 690"/>
                <a:gd name="T5" fmla="*/ 0 h 101"/>
                <a:gd name="T6" fmla="*/ 0 w 690"/>
                <a:gd name="T7" fmla="*/ 6 h 101"/>
                <a:gd name="T8" fmla="*/ 95 w 690"/>
                <a:gd name="T9" fmla="*/ 101 h 101"/>
                <a:gd name="T10" fmla="*/ 595 w 690"/>
                <a:gd name="T11" fmla="*/ 101 h 101"/>
                <a:gd name="T12" fmla="*/ 690 w 690"/>
                <a:gd name="T13" fmla="*/ 6 h 101"/>
                <a:gd name="T14" fmla="*/ 690 w 690"/>
                <a:gd name="T15" fmla="*/ 0 h 101"/>
                <a:gd name="T16" fmla="*/ 595 w 690"/>
                <a:gd name="T17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595" y="95"/>
                  </a:moveTo>
                  <a:cubicBezTo>
                    <a:pt x="95" y="95"/>
                    <a:pt x="95" y="95"/>
                    <a:pt x="95" y="95"/>
                  </a:cubicBezTo>
                  <a:cubicBezTo>
                    <a:pt x="43" y="95"/>
                    <a:pt x="0" y="53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9"/>
                    <a:pt x="43" y="101"/>
                    <a:pt x="95" y="101"/>
                  </a:cubicBezTo>
                  <a:cubicBezTo>
                    <a:pt x="595" y="101"/>
                    <a:pt x="595" y="101"/>
                    <a:pt x="595" y="101"/>
                  </a:cubicBezTo>
                  <a:cubicBezTo>
                    <a:pt x="648" y="101"/>
                    <a:pt x="690" y="59"/>
                    <a:pt x="690" y="6"/>
                  </a:cubicBezTo>
                  <a:cubicBezTo>
                    <a:pt x="690" y="0"/>
                    <a:pt x="690" y="0"/>
                    <a:pt x="690" y="0"/>
                  </a:cubicBezTo>
                  <a:cubicBezTo>
                    <a:pt x="690" y="53"/>
                    <a:pt x="648" y="95"/>
                    <a:pt x="595" y="95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Freeform 13">
              <a:extLst>
                <a:ext uri="{FF2B5EF4-FFF2-40B4-BE49-F238E27FC236}">
                  <a16:creationId xmlns:a16="http://schemas.microsoft.com/office/drawing/2014/main" id="{ADECEB99-B15A-4978-83AD-263017B5F17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492125"/>
            </a:xfrm>
            <a:custGeom>
              <a:avLst/>
              <a:gdLst>
                <a:gd name="T0" fmla="*/ 95 w 690"/>
                <a:gd name="T1" fmla="*/ 6 h 101"/>
                <a:gd name="T2" fmla="*/ 595 w 690"/>
                <a:gd name="T3" fmla="*/ 6 h 101"/>
                <a:gd name="T4" fmla="*/ 690 w 690"/>
                <a:gd name="T5" fmla="*/ 101 h 101"/>
                <a:gd name="T6" fmla="*/ 690 w 690"/>
                <a:gd name="T7" fmla="*/ 95 h 101"/>
                <a:gd name="T8" fmla="*/ 595 w 690"/>
                <a:gd name="T9" fmla="*/ 0 h 101"/>
                <a:gd name="T10" fmla="*/ 95 w 690"/>
                <a:gd name="T11" fmla="*/ 0 h 101"/>
                <a:gd name="T12" fmla="*/ 0 w 690"/>
                <a:gd name="T13" fmla="*/ 95 h 101"/>
                <a:gd name="T14" fmla="*/ 0 w 690"/>
                <a:gd name="T15" fmla="*/ 101 h 101"/>
                <a:gd name="T16" fmla="*/ 95 w 690"/>
                <a:gd name="T17" fmla="*/ 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95" y="6"/>
                  </a:moveTo>
                  <a:cubicBezTo>
                    <a:pt x="595" y="6"/>
                    <a:pt x="595" y="6"/>
                    <a:pt x="595" y="6"/>
                  </a:cubicBezTo>
                  <a:cubicBezTo>
                    <a:pt x="648" y="6"/>
                    <a:pt x="690" y="49"/>
                    <a:pt x="690" y="101"/>
                  </a:cubicBezTo>
                  <a:cubicBezTo>
                    <a:pt x="690" y="95"/>
                    <a:pt x="690" y="95"/>
                    <a:pt x="690" y="95"/>
                  </a:cubicBezTo>
                  <a:cubicBezTo>
                    <a:pt x="690" y="42"/>
                    <a:pt x="648" y="0"/>
                    <a:pt x="5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3" y="0"/>
                    <a:pt x="0" y="42"/>
                    <a:pt x="0" y="9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49"/>
                    <a:pt x="43" y="6"/>
                    <a:pt x="95" y="6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14">
              <a:extLst>
                <a:ext uri="{FF2B5EF4-FFF2-40B4-BE49-F238E27FC236}">
                  <a16:creationId xmlns:a16="http://schemas.microsoft.com/office/drawing/2014/main" id="{249066F9-BFFC-4273-B66A-6D43D1DC6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44450"/>
            </a:xfrm>
            <a:custGeom>
              <a:avLst/>
              <a:gdLst>
                <a:gd name="T0" fmla="*/ 7 w 81"/>
                <a:gd name="T1" fmla="*/ 4 h 9"/>
                <a:gd name="T2" fmla="*/ 74 w 81"/>
                <a:gd name="T3" fmla="*/ 4 h 9"/>
                <a:gd name="T4" fmla="*/ 81 w 81"/>
                <a:gd name="T5" fmla="*/ 9 h 9"/>
                <a:gd name="T6" fmla="*/ 81 w 81"/>
                <a:gd name="T7" fmla="*/ 7 h 9"/>
                <a:gd name="T8" fmla="*/ 74 w 81"/>
                <a:gd name="T9" fmla="*/ 0 h 9"/>
                <a:gd name="T10" fmla="*/ 7 w 81"/>
                <a:gd name="T11" fmla="*/ 0 h 9"/>
                <a:gd name="T12" fmla="*/ 0 w 81"/>
                <a:gd name="T13" fmla="*/ 7 h 9"/>
                <a:gd name="T14" fmla="*/ 0 w 81"/>
                <a:gd name="T15" fmla="*/ 9 h 9"/>
                <a:gd name="T16" fmla="*/ 7 w 81"/>
                <a:gd name="T17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9">
                  <a:moveTo>
                    <a:pt x="7" y="4"/>
                  </a:moveTo>
                  <a:cubicBezTo>
                    <a:pt x="74" y="4"/>
                    <a:pt x="74" y="4"/>
                    <a:pt x="74" y="4"/>
                  </a:cubicBezTo>
                  <a:cubicBezTo>
                    <a:pt x="77" y="4"/>
                    <a:pt x="80" y="6"/>
                    <a:pt x="81" y="9"/>
                  </a:cubicBezTo>
                  <a:cubicBezTo>
                    <a:pt x="81" y="9"/>
                    <a:pt x="81" y="8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1" y="6"/>
                    <a:pt x="4" y="4"/>
                    <a:pt x="7" y="4"/>
                  </a:cubicBezTo>
                  <a:close/>
                </a:path>
              </a:pathLst>
            </a:cu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Oval 15">
              <a:extLst>
                <a:ext uri="{FF2B5EF4-FFF2-40B4-BE49-F238E27FC236}">
                  <a16:creationId xmlns:a16="http://schemas.microsoft.com/office/drawing/2014/main" id="{DD1CB3CD-0592-471B-A215-991FA17306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14735" y="-4694039"/>
              <a:ext cx="10160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" name="Oval 16">
              <a:extLst>
                <a:ext uri="{FF2B5EF4-FFF2-40B4-BE49-F238E27FC236}">
                  <a16:creationId xmlns:a16="http://schemas.microsoft.com/office/drawing/2014/main" id="{94FD97D9-8F3D-43C4-9569-F30004373A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1956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" name="Oval 17">
              <a:extLst>
                <a:ext uri="{FF2B5EF4-FFF2-40B4-BE49-F238E27FC236}">
                  <a16:creationId xmlns:a16="http://schemas.microsoft.com/office/drawing/2014/main" id="{06A5C97B-0F4F-4713-B447-A93D5FA8F9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83023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" name="Oval 18">
              <a:extLst>
                <a:ext uri="{FF2B5EF4-FFF2-40B4-BE49-F238E27FC236}">
                  <a16:creationId xmlns:a16="http://schemas.microsoft.com/office/drawing/2014/main" id="{DEE2E46B-63B2-44F3-816D-8507117933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59210" y="-4694039"/>
              <a:ext cx="98425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" name="Oval 19">
              <a:extLst>
                <a:ext uri="{FF2B5EF4-FFF2-40B4-BE49-F238E27FC236}">
                  <a16:creationId xmlns:a16="http://schemas.microsoft.com/office/drawing/2014/main" id="{91AA136C-4BD7-4EA2-BD6C-784B54A698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33810" y="-4670226"/>
              <a:ext cx="47625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" name="Oval 20">
              <a:extLst>
                <a:ext uri="{FF2B5EF4-FFF2-40B4-BE49-F238E27FC236}">
                  <a16:creationId xmlns:a16="http://schemas.microsoft.com/office/drawing/2014/main" id="{880DE56F-F1AF-4D36-B396-06035A1BE0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59098" y="-4694039"/>
              <a:ext cx="10795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" name="Oval 21">
              <a:extLst>
                <a:ext uri="{FF2B5EF4-FFF2-40B4-BE49-F238E27FC236}">
                  <a16:creationId xmlns:a16="http://schemas.microsoft.com/office/drawing/2014/main" id="{4988FBAE-46EC-4B9E-93D7-214BD3DCFD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352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" name="Oval 22">
              <a:extLst>
                <a:ext uri="{FF2B5EF4-FFF2-40B4-BE49-F238E27FC236}">
                  <a16:creationId xmlns:a16="http://schemas.microsoft.com/office/drawing/2014/main" id="{197685E8-7CF1-4373-A81B-AFE1B8DA38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30498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" name="Oval 23">
              <a:extLst>
                <a:ext uri="{FF2B5EF4-FFF2-40B4-BE49-F238E27FC236}">
                  <a16:creationId xmlns:a16="http://schemas.microsoft.com/office/drawing/2014/main" id="{351EC3A1-B7E4-4552-B61A-1473FCC90E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11448" y="-4694039"/>
              <a:ext cx="103188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" name="Oval 24">
              <a:extLst>
                <a:ext uri="{FF2B5EF4-FFF2-40B4-BE49-F238E27FC236}">
                  <a16:creationId xmlns:a16="http://schemas.microsoft.com/office/drawing/2014/main" id="{661AC816-2296-40C9-A25C-B1BEFE61AC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86048" y="-4670226"/>
              <a:ext cx="52388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" name="Freeform 25">
              <a:extLst>
                <a:ext uri="{FF2B5EF4-FFF2-40B4-BE49-F238E27FC236}">
                  <a16:creationId xmlns:a16="http://schemas.microsoft.com/office/drawing/2014/main" id="{46F29B81-FB29-4C2F-91BC-A295FECE0DA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916164"/>
              <a:ext cx="9525" cy="209550"/>
            </a:xfrm>
            <a:custGeom>
              <a:avLst/>
              <a:gdLst>
                <a:gd name="T0" fmla="*/ 0 w 2"/>
                <a:gd name="T1" fmla="*/ 0 h 43"/>
                <a:gd name="T2" fmla="*/ 0 w 2"/>
                <a:gd name="T3" fmla="*/ 43 h 43"/>
                <a:gd name="T4" fmla="*/ 1 w 2"/>
                <a:gd name="T5" fmla="*/ 43 h 43"/>
                <a:gd name="T6" fmla="*/ 2 w 2"/>
                <a:gd name="T7" fmla="*/ 43 h 43"/>
                <a:gd name="T8" fmla="*/ 2 w 2"/>
                <a:gd name="T9" fmla="*/ 0 h 43"/>
                <a:gd name="T10" fmla="*/ 1 w 2"/>
                <a:gd name="T11" fmla="*/ 0 h 43"/>
                <a:gd name="T12" fmla="*/ 0 w 2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3">
                  <a:moveTo>
                    <a:pt x="0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1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" name="Freeform 26">
              <a:extLst>
                <a:ext uri="{FF2B5EF4-FFF2-40B4-BE49-F238E27FC236}">
                  <a16:creationId xmlns:a16="http://schemas.microsoft.com/office/drawing/2014/main" id="{290C135C-B9D0-4415-BAB5-F12F8FD61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4637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" name="Freeform 27">
              <a:extLst>
                <a:ext uri="{FF2B5EF4-FFF2-40B4-BE49-F238E27FC236}">
                  <a16:creationId xmlns:a16="http://schemas.microsoft.com/office/drawing/2014/main" id="{429A1CC3-6587-4A2B-AEB1-2BC35DF02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29430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" name="Freeform 28">
              <a:extLst>
                <a:ext uri="{FF2B5EF4-FFF2-40B4-BE49-F238E27FC236}">
                  <a16:creationId xmlns:a16="http://schemas.microsoft.com/office/drawing/2014/main" id="{1F760E5D-3369-4757-8B2E-D6F346D2B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28575" cy="787400"/>
            </a:xfrm>
            <a:custGeom>
              <a:avLst/>
              <a:gdLst>
                <a:gd name="T0" fmla="*/ 6 w 6"/>
                <a:gd name="T1" fmla="*/ 158 h 162"/>
                <a:gd name="T2" fmla="*/ 6 w 6"/>
                <a:gd name="T3" fmla="*/ 4 h 162"/>
                <a:gd name="T4" fmla="*/ 2 w 6"/>
                <a:gd name="T5" fmla="*/ 0 h 162"/>
                <a:gd name="T6" fmla="*/ 0 w 6"/>
                <a:gd name="T7" fmla="*/ 0 h 162"/>
                <a:gd name="T8" fmla="*/ 0 w 6"/>
                <a:gd name="T9" fmla="*/ 162 h 162"/>
                <a:gd name="T10" fmla="*/ 2 w 6"/>
                <a:gd name="T11" fmla="*/ 162 h 162"/>
                <a:gd name="T12" fmla="*/ 6 w 6"/>
                <a:gd name="T13" fmla="*/ 15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62">
                  <a:moveTo>
                    <a:pt x="6" y="158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4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2"/>
                    <a:pt x="6" y="160"/>
                    <a:pt x="6" y="158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699FCCAB-F287-4E3E-83C9-009215A4A3B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9525" cy="787400"/>
            </a:xfrm>
            <a:custGeom>
              <a:avLst/>
              <a:gdLst>
                <a:gd name="T0" fmla="*/ 2 w 2"/>
                <a:gd name="T1" fmla="*/ 162 h 162"/>
                <a:gd name="T2" fmla="*/ 2 w 2"/>
                <a:gd name="T3" fmla="*/ 0 h 162"/>
                <a:gd name="T4" fmla="*/ 2 w 2"/>
                <a:gd name="T5" fmla="*/ 0 h 162"/>
                <a:gd name="T6" fmla="*/ 0 w 2"/>
                <a:gd name="T7" fmla="*/ 0 h 162"/>
                <a:gd name="T8" fmla="*/ 0 w 2"/>
                <a:gd name="T9" fmla="*/ 162 h 162"/>
                <a:gd name="T10" fmla="*/ 2 w 2"/>
                <a:gd name="T11" fmla="*/ 162 h 162"/>
                <a:gd name="T12" fmla="*/ 2 w 2"/>
                <a:gd name="T13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62">
                  <a:moveTo>
                    <a:pt x="2" y="162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2" y="162"/>
                    <a:pt x="2" y="162"/>
                    <a:pt x="2" y="162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" name="Rectangle 30">
              <a:extLst>
                <a:ext uri="{FF2B5EF4-FFF2-40B4-BE49-F238E27FC236}">
                  <a16:creationId xmlns:a16="http://schemas.microsoft.com/office/drawing/2014/main" id="{280A20CA-7B66-42A9-AD13-D38874CF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" name="Rectangle 31">
              <a:extLst>
                <a:ext uri="{FF2B5EF4-FFF2-40B4-BE49-F238E27FC236}">
                  <a16:creationId xmlns:a16="http://schemas.microsoft.com/office/drawing/2014/main" id="{9C216AE3-F552-4364-BF9E-C09495D347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" name="Rectangle 32">
              <a:extLst>
                <a:ext uri="{FF2B5EF4-FFF2-40B4-BE49-F238E27FC236}">
                  <a16:creationId xmlns:a16="http://schemas.microsoft.com/office/drawing/2014/main" id="{5AB55B02-60BB-4454-9000-223DAA7EF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" name="Rectangle 33">
              <a:extLst>
                <a:ext uri="{FF2B5EF4-FFF2-40B4-BE49-F238E27FC236}">
                  <a16:creationId xmlns:a16="http://schemas.microsoft.com/office/drawing/2014/main" id="{97BBF5A9-38D1-401C-8AE4-81F93C2ABF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68" name="Freeform 7">
            <a:extLst>
              <a:ext uri="{FF2B5EF4-FFF2-40B4-BE49-F238E27FC236}">
                <a16:creationId xmlns:a16="http://schemas.microsoft.com/office/drawing/2014/main" id="{C7C42263-A9D0-4A7B-A353-BE068384C756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 bwMode="auto">
          <a:xfrm>
            <a:off x="4192338" y="719909"/>
            <a:ext cx="1841319" cy="3767506"/>
          </a:xfrm>
          <a:custGeom>
            <a:avLst/>
            <a:gdLst>
              <a:gd name="T0" fmla="*/ 562 w 624"/>
              <a:gd name="T1" fmla="*/ 0 h 1272"/>
              <a:gd name="T2" fmla="*/ 507 w 624"/>
              <a:gd name="T3" fmla="*/ 0 h 1272"/>
              <a:gd name="T4" fmla="*/ 477 w 624"/>
              <a:gd name="T5" fmla="*/ 20 h 1272"/>
              <a:gd name="T6" fmla="*/ 476 w 624"/>
              <a:gd name="T7" fmla="*/ 22 h 1272"/>
              <a:gd name="T8" fmla="*/ 447 w 624"/>
              <a:gd name="T9" fmla="*/ 42 h 1272"/>
              <a:gd name="T10" fmla="*/ 178 w 624"/>
              <a:gd name="T11" fmla="*/ 42 h 1272"/>
              <a:gd name="T12" fmla="*/ 148 w 624"/>
              <a:gd name="T13" fmla="*/ 22 h 1272"/>
              <a:gd name="T14" fmla="*/ 147 w 624"/>
              <a:gd name="T15" fmla="*/ 20 h 1272"/>
              <a:gd name="T16" fmla="*/ 118 w 624"/>
              <a:gd name="T17" fmla="*/ 0 h 1272"/>
              <a:gd name="T18" fmla="*/ 63 w 624"/>
              <a:gd name="T19" fmla="*/ 0 h 1272"/>
              <a:gd name="T20" fmla="*/ 17 w 624"/>
              <a:gd name="T21" fmla="*/ 20 h 1272"/>
              <a:gd name="T22" fmla="*/ 0 w 624"/>
              <a:gd name="T23" fmla="*/ 62 h 1272"/>
              <a:gd name="T24" fmla="*/ 0 w 624"/>
              <a:gd name="T25" fmla="*/ 1210 h 1272"/>
              <a:gd name="T26" fmla="*/ 18 w 624"/>
              <a:gd name="T27" fmla="*/ 1254 h 1272"/>
              <a:gd name="T28" fmla="*/ 62 w 624"/>
              <a:gd name="T29" fmla="*/ 1272 h 1272"/>
              <a:gd name="T30" fmla="*/ 562 w 624"/>
              <a:gd name="T31" fmla="*/ 1272 h 1272"/>
              <a:gd name="T32" fmla="*/ 624 w 624"/>
              <a:gd name="T33" fmla="*/ 1210 h 1272"/>
              <a:gd name="T34" fmla="*/ 624 w 624"/>
              <a:gd name="T35" fmla="*/ 62 h 1272"/>
              <a:gd name="T36" fmla="*/ 562 w 624"/>
              <a:gd name="T37" fmla="*/ 0 h 1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4" h="1272">
                <a:moveTo>
                  <a:pt x="562" y="0"/>
                </a:moveTo>
                <a:cubicBezTo>
                  <a:pt x="507" y="0"/>
                  <a:pt x="507" y="0"/>
                  <a:pt x="507" y="0"/>
                </a:cubicBezTo>
                <a:cubicBezTo>
                  <a:pt x="494" y="0"/>
                  <a:pt x="482" y="8"/>
                  <a:pt x="477" y="20"/>
                </a:cubicBezTo>
                <a:cubicBezTo>
                  <a:pt x="476" y="22"/>
                  <a:pt x="476" y="22"/>
                  <a:pt x="476" y="22"/>
                </a:cubicBezTo>
                <a:cubicBezTo>
                  <a:pt x="472" y="35"/>
                  <a:pt x="460" y="42"/>
                  <a:pt x="447" y="42"/>
                </a:cubicBezTo>
                <a:cubicBezTo>
                  <a:pt x="178" y="42"/>
                  <a:pt x="178" y="42"/>
                  <a:pt x="178" y="42"/>
                </a:cubicBezTo>
                <a:cubicBezTo>
                  <a:pt x="165" y="42"/>
                  <a:pt x="153" y="35"/>
                  <a:pt x="148" y="22"/>
                </a:cubicBezTo>
                <a:cubicBezTo>
                  <a:pt x="147" y="20"/>
                  <a:pt x="147" y="20"/>
                  <a:pt x="147" y="20"/>
                </a:cubicBezTo>
                <a:cubicBezTo>
                  <a:pt x="142" y="8"/>
                  <a:pt x="131" y="0"/>
                  <a:pt x="118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45" y="0"/>
                  <a:pt x="28" y="7"/>
                  <a:pt x="17" y="20"/>
                </a:cubicBezTo>
                <a:cubicBezTo>
                  <a:pt x="6" y="31"/>
                  <a:pt x="0" y="46"/>
                  <a:pt x="0" y="62"/>
                </a:cubicBezTo>
                <a:cubicBezTo>
                  <a:pt x="0" y="1210"/>
                  <a:pt x="0" y="1210"/>
                  <a:pt x="0" y="1210"/>
                </a:cubicBezTo>
                <a:cubicBezTo>
                  <a:pt x="0" y="1227"/>
                  <a:pt x="7" y="1243"/>
                  <a:pt x="18" y="1254"/>
                </a:cubicBezTo>
                <a:cubicBezTo>
                  <a:pt x="30" y="1266"/>
                  <a:pt x="46" y="1272"/>
                  <a:pt x="62" y="1272"/>
                </a:cubicBezTo>
                <a:cubicBezTo>
                  <a:pt x="562" y="1272"/>
                  <a:pt x="562" y="1272"/>
                  <a:pt x="562" y="1272"/>
                </a:cubicBezTo>
                <a:cubicBezTo>
                  <a:pt x="597" y="1272"/>
                  <a:pt x="624" y="1245"/>
                  <a:pt x="624" y="1210"/>
                </a:cubicBezTo>
                <a:cubicBezTo>
                  <a:pt x="624" y="62"/>
                  <a:pt x="624" y="62"/>
                  <a:pt x="624" y="62"/>
                </a:cubicBezTo>
                <a:cubicBezTo>
                  <a:pt x="624" y="28"/>
                  <a:pt x="597" y="0"/>
                  <a:pt x="562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30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83167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34">
            <a:extLst>
              <a:ext uri="{FF2B5EF4-FFF2-40B4-BE49-F238E27FC236}">
                <a16:creationId xmlns:a16="http://schemas.microsoft.com/office/drawing/2014/main" id="{394B3B32-2383-40C3-8C2F-FAE6BEB7DF0E}"/>
              </a:ext>
            </a:extLst>
          </p:cNvPr>
          <p:cNvSpPr/>
          <p:nvPr userDrawn="1"/>
        </p:nvSpPr>
        <p:spPr>
          <a:xfrm flipV="1">
            <a:off x="0" y="0"/>
            <a:ext cx="9144000" cy="15318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81" tIns="17140" rIns="34281" bIns="17140" rtlCol="0" anchor="ctr"/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383308"/>
            <a:ext cx="3499420" cy="962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90528" y="1893651"/>
            <a:ext cx="3489661" cy="273192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39" name="Группа 69">
            <a:extLst>
              <a:ext uri="{FF2B5EF4-FFF2-40B4-BE49-F238E27FC236}">
                <a16:creationId xmlns:a16="http://schemas.microsoft.com/office/drawing/2014/main" id="{A0B37D58-5B51-425A-BF68-D255ED0DBDF3}"/>
              </a:ext>
            </a:extLst>
          </p:cNvPr>
          <p:cNvGrpSpPr/>
          <p:nvPr userDrawn="1"/>
        </p:nvGrpSpPr>
        <p:grpSpPr>
          <a:xfrm>
            <a:off x="4058976" y="633998"/>
            <a:ext cx="2079096" cy="3962743"/>
            <a:chOff x="-3543473" y="-4875014"/>
            <a:chExt cx="3414713" cy="6508750"/>
          </a:xfrm>
          <a:effectLst>
            <a:reflection blurRad="50800" stA="50000" endPos="2000" dist="38100" dir="5400000" sy="-100000" algn="bl" rotWithShape="0"/>
          </a:effectLst>
        </p:grpSpPr>
        <p:sp>
          <p:nvSpPr>
            <p:cNvPr id="40" name="Freeform 5">
              <a:extLst>
                <a:ext uri="{FF2B5EF4-FFF2-40B4-BE49-F238E27FC236}">
                  <a16:creationId xmlns:a16="http://schemas.microsoft.com/office/drawing/2014/main" id="{E8F9A057-180A-40E9-8E05-B90FEDEF5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6508750"/>
            </a:xfrm>
            <a:custGeom>
              <a:avLst/>
              <a:gdLst>
                <a:gd name="T0" fmla="*/ 595 w 690"/>
                <a:gd name="T1" fmla="*/ 1338 h 1338"/>
                <a:gd name="T2" fmla="*/ 95 w 690"/>
                <a:gd name="T3" fmla="*/ 1338 h 1338"/>
                <a:gd name="T4" fmla="*/ 0 w 690"/>
                <a:gd name="T5" fmla="*/ 1243 h 1338"/>
                <a:gd name="T6" fmla="*/ 0 w 690"/>
                <a:gd name="T7" fmla="*/ 95 h 1338"/>
                <a:gd name="T8" fmla="*/ 95 w 690"/>
                <a:gd name="T9" fmla="*/ 0 h 1338"/>
                <a:gd name="T10" fmla="*/ 595 w 690"/>
                <a:gd name="T11" fmla="*/ 0 h 1338"/>
                <a:gd name="T12" fmla="*/ 690 w 690"/>
                <a:gd name="T13" fmla="*/ 95 h 1338"/>
                <a:gd name="T14" fmla="*/ 690 w 690"/>
                <a:gd name="T15" fmla="*/ 1243 h 1338"/>
                <a:gd name="T16" fmla="*/ 595 w 690"/>
                <a:gd name="T17" fmla="*/ 1338 h 1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338">
                  <a:moveTo>
                    <a:pt x="595" y="1338"/>
                  </a:moveTo>
                  <a:cubicBezTo>
                    <a:pt x="95" y="1338"/>
                    <a:pt x="95" y="1338"/>
                    <a:pt x="95" y="1338"/>
                  </a:cubicBezTo>
                  <a:cubicBezTo>
                    <a:pt x="43" y="1338"/>
                    <a:pt x="0" y="1296"/>
                    <a:pt x="0" y="1243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42"/>
                    <a:pt x="43" y="0"/>
                    <a:pt x="95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648" y="0"/>
                    <a:pt x="690" y="42"/>
                    <a:pt x="690" y="95"/>
                  </a:cubicBezTo>
                  <a:cubicBezTo>
                    <a:pt x="690" y="1243"/>
                    <a:pt x="690" y="1243"/>
                    <a:pt x="690" y="1243"/>
                  </a:cubicBezTo>
                  <a:cubicBezTo>
                    <a:pt x="690" y="1296"/>
                    <a:pt x="648" y="1338"/>
                    <a:pt x="595" y="133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0662CC14-53F3-4CB4-AD29-DDDFA8A09E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56160" y="-4816276"/>
              <a:ext cx="3240088" cy="6391275"/>
            </a:xfrm>
            <a:custGeom>
              <a:avLst/>
              <a:gdLst>
                <a:gd name="T0" fmla="*/ 583 w 666"/>
                <a:gd name="T1" fmla="*/ 1314 h 1314"/>
                <a:gd name="T2" fmla="*/ 83 w 666"/>
                <a:gd name="T3" fmla="*/ 1314 h 1314"/>
                <a:gd name="T4" fmla="*/ 0 w 666"/>
                <a:gd name="T5" fmla="*/ 1231 h 1314"/>
                <a:gd name="T6" fmla="*/ 0 w 666"/>
                <a:gd name="T7" fmla="*/ 83 h 1314"/>
                <a:gd name="T8" fmla="*/ 83 w 666"/>
                <a:gd name="T9" fmla="*/ 0 h 1314"/>
                <a:gd name="T10" fmla="*/ 583 w 666"/>
                <a:gd name="T11" fmla="*/ 0 h 1314"/>
                <a:gd name="T12" fmla="*/ 666 w 666"/>
                <a:gd name="T13" fmla="*/ 83 h 1314"/>
                <a:gd name="T14" fmla="*/ 666 w 666"/>
                <a:gd name="T15" fmla="*/ 1231 h 1314"/>
                <a:gd name="T16" fmla="*/ 583 w 666"/>
                <a:gd name="T17" fmla="*/ 1314 h 1314"/>
                <a:gd name="T18" fmla="*/ 83 w 666"/>
                <a:gd name="T19" fmla="*/ 2 h 1314"/>
                <a:gd name="T20" fmla="*/ 2 w 666"/>
                <a:gd name="T21" fmla="*/ 83 h 1314"/>
                <a:gd name="T22" fmla="*/ 2 w 666"/>
                <a:gd name="T23" fmla="*/ 1231 h 1314"/>
                <a:gd name="T24" fmla="*/ 83 w 666"/>
                <a:gd name="T25" fmla="*/ 1312 h 1314"/>
                <a:gd name="T26" fmla="*/ 583 w 666"/>
                <a:gd name="T27" fmla="*/ 1312 h 1314"/>
                <a:gd name="T28" fmla="*/ 664 w 666"/>
                <a:gd name="T29" fmla="*/ 1231 h 1314"/>
                <a:gd name="T30" fmla="*/ 664 w 666"/>
                <a:gd name="T31" fmla="*/ 83 h 1314"/>
                <a:gd name="T32" fmla="*/ 583 w 666"/>
                <a:gd name="T33" fmla="*/ 2 h 1314"/>
                <a:gd name="T34" fmla="*/ 83 w 666"/>
                <a:gd name="T35" fmla="*/ 2 h 1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6" h="1314">
                  <a:moveTo>
                    <a:pt x="583" y="1314"/>
                  </a:moveTo>
                  <a:cubicBezTo>
                    <a:pt x="83" y="1314"/>
                    <a:pt x="83" y="1314"/>
                    <a:pt x="83" y="1314"/>
                  </a:cubicBezTo>
                  <a:cubicBezTo>
                    <a:pt x="37" y="1314"/>
                    <a:pt x="0" y="1277"/>
                    <a:pt x="0" y="1231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583" y="0"/>
                    <a:pt x="583" y="0"/>
                    <a:pt x="583" y="0"/>
                  </a:cubicBezTo>
                  <a:cubicBezTo>
                    <a:pt x="629" y="0"/>
                    <a:pt x="666" y="37"/>
                    <a:pt x="666" y="83"/>
                  </a:cubicBezTo>
                  <a:cubicBezTo>
                    <a:pt x="666" y="1231"/>
                    <a:pt x="666" y="1231"/>
                    <a:pt x="666" y="1231"/>
                  </a:cubicBezTo>
                  <a:cubicBezTo>
                    <a:pt x="666" y="1277"/>
                    <a:pt x="629" y="1314"/>
                    <a:pt x="583" y="1314"/>
                  </a:cubicBezTo>
                  <a:close/>
                  <a:moveTo>
                    <a:pt x="83" y="2"/>
                  </a:moveTo>
                  <a:cubicBezTo>
                    <a:pt x="38" y="2"/>
                    <a:pt x="2" y="38"/>
                    <a:pt x="2" y="83"/>
                  </a:cubicBezTo>
                  <a:cubicBezTo>
                    <a:pt x="2" y="1231"/>
                    <a:pt x="2" y="1231"/>
                    <a:pt x="2" y="1231"/>
                  </a:cubicBezTo>
                  <a:cubicBezTo>
                    <a:pt x="2" y="1276"/>
                    <a:pt x="38" y="1312"/>
                    <a:pt x="83" y="1312"/>
                  </a:cubicBezTo>
                  <a:cubicBezTo>
                    <a:pt x="583" y="1312"/>
                    <a:pt x="583" y="1312"/>
                    <a:pt x="583" y="1312"/>
                  </a:cubicBezTo>
                  <a:cubicBezTo>
                    <a:pt x="628" y="1312"/>
                    <a:pt x="664" y="1276"/>
                    <a:pt x="664" y="1231"/>
                  </a:cubicBezTo>
                  <a:cubicBezTo>
                    <a:pt x="664" y="83"/>
                    <a:pt x="664" y="83"/>
                    <a:pt x="664" y="83"/>
                  </a:cubicBezTo>
                  <a:cubicBezTo>
                    <a:pt x="664" y="38"/>
                    <a:pt x="628" y="2"/>
                    <a:pt x="583" y="2"/>
                  </a:cubicBezTo>
                  <a:lnTo>
                    <a:pt x="83" y="2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Freeform 8">
              <a:extLst>
                <a:ext uri="{FF2B5EF4-FFF2-40B4-BE49-F238E27FC236}">
                  <a16:creationId xmlns:a16="http://schemas.microsoft.com/office/drawing/2014/main" id="{94961982-5118-4F0E-ADCC-B28CFF2D1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73025"/>
            </a:xfrm>
            <a:custGeom>
              <a:avLst/>
              <a:gdLst>
                <a:gd name="T0" fmla="*/ 74 w 81"/>
                <a:gd name="T1" fmla="*/ 0 h 15"/>
                <a:gd name="T2" fmla="*/ 7 w 81"/>
                <a:gd name="T3" fmla="*/ 0 h 15"/>
                <a:gd name="T4" fmla="*/ 0 w 81"/>
                <a:gd name="T5" fmla="*/ 7 h 15"/>
                <a:gd name="T6" fmla="*/ 7 w 81"/>
                <a:gd name="T7" fmla="*/ 15 h 15"/>
                <a:gd name="T8" fmla="*/ 74 w 81"/>
                <a:gd name="T9" fmla="*/ 15 h 15"/>
                <a:gd name="T10" fmla="*/ 81 w 81"/>
                <a:gd name="T11" fmla="*/ 7 h 15"/>
                <a:gd name="T12" fmla="*/ 74 w 81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">
                  <a:moveTo>
                    <a:pt x="7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5"/>
                    <a:pt x="7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8" y="15"/>
                    <a:pt x="81" y="11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lose/>
                </a:path>
              </a:pathLst>
            </a:cu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" name="Freeform 9">
              <a:extLst>
                <a:ext uri="{FF2B5EF4-FFF2-40B4-BE49-F238E27FC236}">
                  <a16:creationId xmlns:a16="http://schemas.microsoft.com/office/drawing/2014/main" id="{D62F9C2A-CE97-4FD1-9434-6BB4C498B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4637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Freeform 10">
              <a:extLst>
                <a:ext uri="{FF2B5EF4-FFF2-40B4-BE49-F238E27FC236}">
                  <a16:creationId xmlns:a16="http://schemas.microsoft.com/office/drawing/2014/main" id="{C449D64C-DD1B-4971-9128-876E7B5B1B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916164"/>
              <a:ext cx="28575" cy="209550"/>
            </a:xfrm>
            <a:custGeom>
              <a:avLst/>
              <a:gdLst>
                <a:gd name="T0" fmla="*/ 5 w 6"/>
                <a:gd name="T1" fmla="*/ 0 h 43"/>
                <a:gd name="T2" fmla="*/ 0 w 6"/>
                <a:gd name="T3" fmla="*/ 4 h 43"/>
                <a:gd name="T4" fmla="*/ 0 w 6"/>
                <a:gd name="T5" fmla="*/ 39 h 43"/>
                <a:gd name="T6" fmla="*/ 5 w 6"/>
                <a:gd name="T7" fmla="*/ 43 h 43"/>
                <a:gd name="T8" fmla="*/ 6 w 6"/>
                <a:gd name="T9" fmla="*/ 43 h 43"/>
                <a:gd name="T10" fmla="*/ 6 w 6"/>
                <a:gd name="T11" fmla="*/ 0 h 43"/>
                <a:gd name="T12" fmla="*/ 5 w 6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3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2" y="43"/>
                    <a:pt x="5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Freeform 11">
              <a:extLst>
                <a:ext uri="{FF2B5EF4-FFF2-40B4-BE49-F238E27FC236}">
                  <a16:creationId xmlns:a16="http://schemas.microsoft.com/office/drawing/2014/main" id="{79519FD3-EF58-41B2-9CE3-019F0D221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29430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Freeform 12">
              <a:extLst>
                <a:ext uri="{FF2B5EF4-FFF2-40B4-BE49-F238E27FC236}">
                  <a16:creationId xmlns:a16="http://schemas.microsoft.com/office/drawing/2014/main" id="{5E882684-2DE3-4911-8AD7-CB70AADC6A1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1141611"/>
              <a:ext cx="3357563" cy="492125"/>
            </a:xfrm>
            <a:custGeom>
              <a:avLst/>
              <a:gdLst>
                <a:gd name="T0" fmla="*/ 595 w 690"/>
                <a:gd name="T1" fmla="*/ 95 h 101"/>
                <a:gd name="T2" fmla="*/ 95 w 690"/>
                <a:gd name="T3" fmla="*/ 95 h 101"/>
                <a:gd name="T4" fmla="*/ 0 w 690"/>
                <a:gd name="T5" fmla="*/ 0 h 101"/>
                <a:gd name="T6" fmla="*/ 0 w 690"/>
                <a:gd name="T7" fmla="*/ 6 h 101"/>
                <a:gd name="T8" fmla="*/ 95 w 690"/>
                <a:gd name="T9" fmla="*/ 101 h 101"/>
                <a:gd name="T10" fmla="*/ 595 w 690"/>
                <a:gd name="T11" fmla="*/ 101 h 101"/>
                <a:gd name="T12" fmla="*/ 690 w 690"/>
                <a:gd name="T13" fmla="*/ 6 h 101"/>
                <a:gd name="T14" fmla="*/ 690 w 690"/>
                <a:gd name="T15" fmla="*/ 0 h 101"/>
                <a:gd name="T16" fmla="*/ 595 w 690"/>
                <a:gd name="T17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595" y="95"/>
                  </a:moveTo>
                  <a:cubicBezTo>
                    <a:pt x="95" y="95"/>
                    <a:pt x="95" y="95"/>
                    <a:pt x="95" y="95"/>
                  </a:cubicBezTo>
                  <a:cubicBezTo>
                    <a:pt x="43" y="95"/>
                    <a:pt x="0" y="53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9"/>
                    <a:pt x="43" y="101"/>
                    <a:pt x="95" y="101"/>
                  </a:cubicBezTo>
                  <a:cubicBezTo>
                    <a:pt x="595" y="101"/>
                    <a:pt x="595" y="101"/>
                    <a:pt x="595" y="101"/>
                  </a:cubicBezTo>
                  <a:cubicBezTo>
                    <a:pt x="648" y="101"/>
                    <a:pt x="690" y="59"/>
                    <a:pt x="690" y="6"/>
                  </a:cubicBezTo>
                  <a:cubicBezTo>
                    <a:pt x="690" y="0"/>
                    <a:pt x="690" y="0"/>
                    <a:pt x="690" y="0"/>
                  </a:cubicBezTo>
                  <a:cubicBezTo>
                    <a:pt x="690" y="53"/>
                    <a:pt x="648" y="95"/>
                    <a:pt x="595" y="95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Freeform 13">
              <a:extLst>
                <a:ext uri="{FF2B5EF4-FFF2-40B4-BE49-F238E27FC236}">
                  <a16:creationId xmlns:a16="http://schemas.microsoft.com/office/drawing/2014/main" id="{56907144-ED6A-420E-9C65-7C651E4CE58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492125"/>
            </a:xfrm>
            <a:custGeom>
              <a:avLst/>
              <a:gdLst>
                <a:gd name="T0" fmla="*/ 95 w 690"/>
                <a:gd name="T1" fmla="*/ 6 h 101"/>
                <a:gd name="T2" fmla="*/ 595 w 690"/>
                <a:gd name="T3" fmla="*/ 6 h 101"/>
                <a:gd name="T4" fmla="*/ 690 w 690"/>
                <a:gd name="T5" fmla="*/ 101 h 101"/>
                <a:gd name="T6" fmla="*/ 690 w 690"/>
                <a:gd name="T7" fmla="*/ 95 h 101"/>
                <a:gd name="T8" fmla="*/ 595 w 690"/>
                <a:gd name="T9" fmla="*/ 0 h 101"/>
                <a:gd name="T10" fmla="*/ 95 w 690"/>
                <a:gd name="T11" fmla="*/ 0 h 101"/>
                <a:gd name="T12" fmla="*/ 0 w 690"/>
                <a:gd name="T13" fmla="*/ 95 h 101"/>
                <a:gd name="T14" fmla="*/ 0 w 690"/>
                <a:gd name="T15" fmla="*/ 101 h 101"/>
                <a:gd name="T16" fmla="*/ 95 w 690"/>
                <a:gd name="T17" fmla="*/ 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95" y="6"/>
                  </a:moveTo>
                  <a:cubicBezTo>
                    <a:pt x="595" y="6"/>
                    <a:pt x="595" y="6"/>
                    <a:pt x="595" y="6"/>
                  </a:cubicBezTo>
                  <a:cubicBezTo>
                    <a:pt x="648" y="6"/>
                    <a:pt x="690" y="49"/>
                    <a:pt x="690" y="101"/>
                  </a:cubicBezTo>
                  <a:cubicBezTo>
                    <a:pt x="690" y="95"/>
                    <a:pt x="690" y="95"/>
                    <a:pt x="690" y="95"/>
                  </a:cubicBezTo>
                  <a:cubicBezTo>
                    <a:pt x="690" y="42"/>
                    <a:pt x="648" y="0"/>
                    <a:pt x="5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3" y="0"/>
                    <a:pt x="0" y="42"/>
                    <a:pt x="0" y="9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49"/>
                    <a:pt x="43" y="6"/>
                    <a:pt x="95" y="6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14">
              <a:extLst>
                <a:ext uri="{FF2B5EF4-FFF2-40B4-BE49-F238E27FC236}">
                  <a16:creationId xmlns:a16="http://schemas.microsoft.com/office/drawing/2014/main" id="{CE700931-039B-4EE8-B5C7-938412031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44450"/>
            </a:xfrm>
            <a:custGeom>
              <a:avLst/>
              <a:gdLst>
                <a:gd name="T0" fmla="*/ 7 w 81"/>
                <a:gd name="T1" fmla="*/ 4 h 9"/>
                <a:gd name="T2" fmla="*/ 74 w 81"/>
                <a:gd name="T3" fmla="*/ 4 h 9"/>
                <a:gd name="T4" fmla="*/ 81 w 81"/>
                <a:gd name="T5" fmla="*/ 9 h 9"/>
                <a:gd name="T6" fmla="*/ 81 w 81"/>
                <a:gd name="T7" fmla="*/ 7 h 9"/>
                <a:gd name="T8" fmla="*/ 74 w 81"/>
                <a:gd name="T9" fmla="*/ 0 h 9"/>
                <a:gd name="T10" fmla="*/ 7 w 81"/>
                <a:gd name="T11" fmla="*/ 0 h 9"/>
                <a:gd name="T12" fmla="*/ 0 w 81"/>
                <a:gd name="T13" fmla="*/ 7 h 9"/>
                <a:gd name="T14" fmla="*/ 0 w 81"/>
                <a:gd name="T15" fmla="*/ 9 h 9"/>
                <a:gd name="T16" fmla="*/ 7 w 81"/>
                <a:gd name="T17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9">
                  <a:moveTo>
                    <a:pt x="7" y="4"/>
                  </a:moveTo>
                  <a:cubicBezTo>
                    <a:pt x="74" y="4"/>
                    <a:pt x="74" y="4"/>
                    <a:pt x="74" y="4"/>
                  </a:cubicBezTo>
                  <a:cubicBezTo>
                    <a:pt x="77" y="4"/>
                    <a:pt x="80" y="6"/>
                    <a:pt x="81" y="9"/>
                  </a:cubicBezTo>
                  <a:cubicBezTo>
                    <a:pt x="81" y="9"/>
                    <a:pt x="81" y="8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1" y="6"/>
                    <a:pt x="4" y="4"/>
                    <a:pt x="7" y="4"/>
                  </a:cubicBezTo>
                  <a:close/>
                </a:path>
              </a:pathLst>
            </a:cu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Oval 15">
              <a:extLst>
                <a:ext uri="{FF2B5EF4-FFF2-40B4-BE49-F238E27FC236}">
                  <a16:creationId xmlns:a16="http://schemas.microsoft.com/office/drawing/2014/main" id="{6DFDE3AE-A2A7-4F09-B762-9580DDE7D0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14735" y="-4694039"/>
              <a:ext cx="10160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" name="Oval 16">
              <a:extLst>
                <a:ext uri="{FF2B5EF4-FFF2-40B4-BE49-F238E27FC236}">
                  <a16:creationId xmlns:a16="http://schemas.microsoft.com/office/drawing/2014/main" id="{628887F6-BE83-4F5E-AEB8-7D3023EC95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1956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" name="Oval 17">
              <a:extLst>
                <a:ext uri="{FF2B5EF4-FFF2-40B4-BE49-F238E27FC236}">
                  <a16:creationId xmlns:a16="http://schemas.microsoft.com/office/drawing/2014/main" id="{AA8EEC65-3940-4DAA-9294-F8A45E8B1B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83023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" name="Oval 18">
              <a:extLst>
                <a:ext uri="{FF2B5EF4-FFF2-40B4-BE49-F238E27FC236}">
                  <a16:creationId xmlns:a16="http://schemas.microsoft.com/office/drawing/2014/main" id="{7D1AEB6F-9324-4665-BFBE-ED12F918E6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59210" y="-4694039"/>
              <a:ext cx="98425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" name="Oval 19">
              <a:extLst>
                <a:ext uri="{FF2B5EF4-FFF2-40B4-BE49-F238E27FC236}">
                  <a16:creationId xmlns:a16="http://schemas.microsoft.com/office/drawing/2014/main" id="{656CBBB7-D0EA-4ABE-84F9-2F9149846D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33810" y="-4670226"/>
              <a:ext cx="47625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" name="Oval 20">
              <a:extLst>
                <a:ext uri="{FF2B5EF4-FFF2-40B4-BE49-F238E27FC236}">
                  <a16:creationId xmlns:a16="http://schemas.microsoft.com/office/drawing/2014/main" id="{1AED02E3-DD77-4F1A-8FFD-54B143BDD2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59098" y="-4694039"/>
              <a:ext cx="10795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" name="Oval 21">
              <a:extLst>
                <a:ext uri="{FF2B5EF4-FFF2-40B4-BE49-F238E27FC236}">
                  <a16:creationId xmlns:a16="http://schemas.microsoft.com/office/drawing/2014/main" id="{818BE702-4080-4EA3-9A50-B1437C1656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352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" name="Oval 22">
              <a:extLst>
                <a:ext uri="{FF2B5EF4-FFF2-40B4-BE49-F238E27FC236}">
                  <a16:creationId xmlns:a16="http://schemas.microsoft.com/office/drawing/2014/main" id="{73FE312A-A7FC-44BE-895D-4F64512F60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30498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" name="Oval 23">
              <a:extLst>
                <a:ext uri="{FF2B5EF4-FFF2-40B4-BE49-F238E27FC236}">
                  <a16:creationId xmlns:a16="http://schemas.microsoft.com/office/drawing/2014/main" id="{89FA5CF2-F9E5-4364-AC24-819CD7F512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11448" y="-4694039"/>
              <a:ext cx="103188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" name="Oval 24">
              <a:extLst>
                <a:ext uri="{FF2B5EF4-FFF2-40B4-BE49-F238E27FC236}">
                  <a16:creationId xmlns:a16="http://schemas.microsoft.com/office/drawing/2014/main" id="{BFE21DBC-953B-45F5-BBA8-AA0BD23318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86048" y="-4670226"/>
              <a:ext cx="52388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" name="Freeform 25">
              <a:extLst>
                <a:ext uri="{FF2B5EF4-FFF2-40B4-BE49-F238E27FC236}">
                  <a16:creationId xmlns:a16="http://schemas.microsoft.com/office/drawing/2014/main" id="{5D5E1193-0011-4885-8E0E-80D692A99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916164"/>
              <a:ext cx="9525" cy="209550"/>
            </a:xfrm>
            <a:custGeom>
              <a:avLst/>
              <a:gdLst>
                <a:gd name="T0" fmla="*/ 0 w 2"/>
                <a:gd name="T1" fmla="*/ 0 h 43"/>
                <a:gd name="T2" fmla="*/ 0 w 2"/>
                <a:gd name="T3" fmla="*/ 43 h 43"/>
                <a:gd name="T4" fmla="*/ 1 w 2"/>
                <a:gd name="T5" fmla="*/ 43 h 43"/>
                <a:gd name="T6" fmla="*/ 2 w 2"/>
                <a:gd name="T7" fmla="*/ 43 h 43"/>
                <a:gd name="T8" fmla="*/ 2 w 2"/>
                <a:gd name="T9" fmla="*/ 0 h 43"/>
                <a:gd name="T10" fmla="*/ 1 w 2"/>
                <a:gd name="T11" fmla="*/ 0 h 43"/>
                <a:gd name="T12" fmla="*/ 0 w 2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3">
                  <a:moveTo>
                    <a:pt x="0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1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" name="Freeform 26">
              <a:extLst>
                <a:ext uri="{FF2B5EF4-FFF2-40B4-BE49-F238E27FC236}">
                  <a16:creationId xmlns:a16="http://schemas.microsoft.com/office/drawing/2014/main" id="{CC07D258-31B6-4033-A4C7-CEF3E449A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4637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" name="Freeform 27">
              <a:extLst>
                <a:ext uri="{FF2B5EF4-FFF2-40B4-BE49-F238E27FC236}">
                  <a16:creationId xmlns:a16="http://schemas.microsoft.com/office/drawing/2014/main" id="{FCAA5156-86D7-484B-BA60-6FF12522F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29430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" name="Freeform 28">
              <a:extLst>
                <a:ext uri="{FF2B5EF4-FFF2-40B4-BE49-F238E27FC236}">
                  <a16:creationId xmlns:a16="http://schemas.microsoft.com/office/drawing/2014/main" id="{B19BF702-BF15-45D8-872C-F1C0AE11C0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28575" cy="787400"/>
            </a:xfrm>
            <a:custGeom>
              <a:avLst/>
              <a:gdLst>
                <a:gd name="T0" fmla="*/ 6 w 6"/>
                <a:gd name="T1" fmla="*/ 158 h 162"/>
                <a:gd name="T2" fmla="*/ 6 w 6"/>
                <a:gd name="T3" fmla="*/ 4 h 162"/>
                <a:gd name="T4" fmla="*/ 2 w 6"/>
                <a:gd name="T5" fmla="*/ 0 h 162"/>
                <a:gd name="T6" fmla="*/ 0 w 6"/>
                <a:gd name="T7" fmla="*/ 0 h 162"/>
                <a:gd name="T8" fmla="*/ 0 w 6"/>
                <a:gd name="T9" fmla="*/ 162 h 162"/>
                <a:gd name="T10" fmla="*/ 2 w 6"/>
                <a:gd name="T11" fmla="*/ 162 h 162"/>
                <a:gd name="T12" fmla="*/ 6 w 6"/>
                <a:gd name="T13" fmla="*/ 15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62">
                  <a:moveTo>
                    <a:pt x="6" y="158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4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2"/>
                    <a:pt x="6" y="160"/>
                    <a:pt x="6" y="158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DDA1EAA4-CC5C-48D2-8ABD-E74BB7CDB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9525" cy="787400"/>
            </a:xfrm>
            <a:custGeom>
              <a:avLst/>
              <a:gdLst>
                <a:gd name="T0" fmla="*/ 2 w 2"/>
                <a:gd name="T1" fmla="*/ 162 h 162"/>
                <a:gd name="T2" fmla="*/ 2 w 2"/>
                <a:gd name="T3" fmla="*/ 0 h 162"/>
                <a:gd name="T4" fmla="*/ 2 w 2"/>
                <a:gd name="T5" fmla="*/ 0 h 162"/>
                <a:gd name="T6" fmla="*/ 0 w 2"/>
                <a:gd name="T7" fmla="*/ 0 h 162"/>
                <a:gd name="T8" fmla="*/ 0 w 2"/>
                <a:gd name="T9" fmla="*/ 162 h 162"/>
                <a:gd name="T10" fmla="*/ 2 w 2"/>
                <a:gd name="T11" fmla="*/ 162 h 162"/>
                <a:gd name="T12" fmla="*/ 2 w 2"/>
                <a:gd name="T13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62">
                  <a:moveTo>
                    <a:pt x="2" y="162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2" y="162"/>
                    <a:pt x="2" y="162"/>
                    <a:pt x="2" y="162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" name="Rectangle 30">
              <a:extLst>
                <a:ext uri="{FF2B5EF4-FFF2-40B4-BE49-F238E27FC236}">
                  <a16:creationId xmlns:a16="http://schemas.microsoft.com/office/drawing/2014/main" id="{BA17427E-9906-437D-9F24-9E523C955E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" name="Rectangle 31">
              <a:extLst>
                <a:ext uri="{FF2B5EF4-FFF2-40B4-BE49-F238E27FC236}">
                  <a16:creationId xmlns:a16="http://schemas.microsoft.com/office/drawing/2014/main" id="{54347A83-6763-4438-B9A0-205DB0E532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" name="Rectangle 32">
              <a:extLst>
                <a:ext uri="{FF2B5EF4-FFF2-40B4-BE49-F238E27FC236}">
                  <a16:creationId xmlns:a16="http://schemas.microsoft.com/office/drawing/2014/main" id="{0DF1D394-6AE4-4EC0-9B21-4B05241E0C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" name="Rectangle 33">
              <a:extLst>
                <a:ext uri="{FF2B5EF4-FFF2-40B4-BE49-F238E27FC236}">
                  <a16:creationId xmlns:a16="http://schemas.microsoft.com/office/drawing/2014/main" id="{B70D8AC7-1FC5-4FE7-A362-48F1E1D7E6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68" name="Freeform 7">
            <a:extLst>
              <a:ext uri="{FF2B5EF4-FFF2-40B4-BE49-F238E27FC236}">
                <a16:creationId xmlns:a16="http://schemas.microsoft.com/office/drawing/2014/main" id="{1DF1D02E-FED7-46F9-9334-D8DD54766524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 bwMode="auto">
          <a:xfrm>
            <a:off x="4192338" y="719909"/>
            <a:ext cx="1841319" cy="3767506"/>
          </a:xfrm>
          <a:custGeom>
            <a:avLst/>
            <a:gdLst>
              <a:gd name="T0" fmla="*/ 562 w 624"/>
              <a:gd name="T1" fmla="*/ 0 h 1272"/>
              <a:gd name="T2" fmla="*/ 507 w 624"/>
              <a:gd name="T3" fmla="*/ 0 h 1272"/>
              <a:gd name="T4" fmla="*/ 477 w 624"/>
              <a:gd name="T5" fmla="*/ 20 h 1272"/>
              <a:gd name="T6" fmla="*/ 476 w 624"/>
              <a:gd name="T7" fmla="*/ 22 h 1272"/>
              <a:gd name="T8" fmla="*/ 447 w 624"/>
              <a:gd name="T9" fmla="*/ 42 h 1272"/>
              <a:gd name="T10" fmla="*/ 178 w 624"/>
              <a:gd name="T11" fmla="*/ 42 h 1272"/>
              <a:gd name="T12" fmla="*/ 148 w 624"/>
              <a:gd name="T13" fmla="*/ 22 h 1272"/>
              <a:gd name="T14" fmla="*/ 147 w 624"/>
              <a:gd name="T15" fmla="*/ 20 h 1272"/>
              <a:gd name="T16" fmla="*/ 118 w 624"/>
              <a:gd name="T17" fmla="*/ 0 h 1272"/>
              <a:gd name="T18" fmla="*/ 63 w 624"/>
              <a:gd name="T19" fmla="*/ 0 h 1272"/>
              <a:gd name="T20" fmla="*/ 17 w 624"/>
              <a:gd name="T21" fmla="*/ 20 h 1272"/>
              <a:gd name="T22" fmla="*/ 0 w 624"/>
              <a:gd name="T23" fmla="*/ 62 h 1272"/>
              <a:gd name="T24" fmla="*/ 0 w 624"/>
              <a:gd name="T25" fmla="*/ 1210 h 1272"/>
              <a:gd name="T26" fmla="*/ 18 w 624"/>
              <a:gd name="T27" fmla="*/ 1254 h 1272"/>
              <a:gd name="T28" fmla="*/ 62 w 624"/>
              <a:gd name="T29" fmla="*/ 1272 h 1272"/>
              <a:gd name="T30" fmla="*/ 562 w 624"/>
              <a:gd name="T31" fmla="*/ 1272 h 1272"/>
              <a:gd name="T32" fmla="*/ 624 w 624"/>
              <a:gd name="T33" fmla="*/ 1210 h 1272"/>
              <a:gd name="T34" fmla="*/ 624 w 624"/>
              <a:gd name="T35" fmla="*/ 62 h 1272"/>
              <a:gd name="T36" fmla="*/ 562 w 624"/>
              <a:gd name="T37" fmla="*/ 0 h 1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4" h="1272">
                <a:moveTo>
                  <a:pt x="562" y="0"/>
                </a:moveTo>
                <a:cubicBezTo>
                  <a:pt x="507" y="0"/>
                  <a:pt x="507" y="0"/>
                  <a:pt x="507" y="0"/>
                </a:cubicBezTo>
                <a:cubicBezTo>
                  <a:pt x="494" y="0"/>
                  <a:pt x="482" y="8"/>
                  <a:pt x="477" y="20"/>
                </a:cubicBezTo>
                <a:cubicBezTo>
                  <a:pt x="476" y="22"/>
                  <a:pt x="476" y="22"/>
                  <a:pt x="476" y="22"/>
                </a:cubicBezTo>
                <a:cubicBezTo>
                  <a:pt x="472" y="35"/>
                  <a:pt x="460" y="42"/>
                  <a:pt x="447" y="42"/>
                </a:cubicBezTo>
                <a:cubicBezTo>
                  <a:pt x="178" y="42"/>
                  <a:pt x="178" y="42"/>
                  <a:pt x="178" y="42"/>
                </a:cubicBezTo>
                <a:cubicBezTo>
                  <a:pt x="165" y="42"/>
                  <a:pt x="153" y="35"/>
                  <a:pt x="148" y="22"/>
                </a:cubicBezTo>
                <a:cubicBezTo>
                  <a:pt x="147" y="20"/>
                  <a:pt x="147" y="20"/>
                  <a:pt x="147" y="20"/>
                </a:cubicBezTo>
                <a:cubicBezTo>
                  <a:pt x="142" y="8"/>
                  <a:pt x="131" y="0"/>
                  <a:pt x="118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45" y="0"/>
                  <a:pt x="28" y="7"/>
                  <a:pt x="17" y="20"/>
                </a:cubicBezTo>
                <a:cubicBezTo>
                  <a:pt x="6" y="31"/>
                  <a:pt x="0" y="46"/>
                  <a:pt x="0" y="62"/>
                </a:cubicBezTo>
                <a:cubicBezTo>
                  <a:pt x="0" y="1210"/>
                  <a:pt x="0" y="1210"/>
                  <a:pt x="0" y="1210"/>
                </a:cubicBezTo>
                <a:cubicBezTo>
                  <a:pt x="0" y="1227"/>
                  <a:pt x="7" y="1243"/>
                  <a:pt x="18" y="1254"/>
                </a:cubicBezTo>
                <a:cubicBezTo>
                  <a:pt x="30" y="1266"/>
                  <a:pt x="46" y="1272"/>
                  <a:pt x="62" y="1272"/>
                </a:cubicBezTo>
                <a:cubicBezTo>
                  <a:pt x="562" y="1272"/>
                  <a:pt x="562" y="1272"/>
                  <a:pt x="562" y="1272"/>
                </a:cubicBezTo>
                <a:cubicBezTo>
                  <a:pt x="597" y="1272"/>
                  <a:pt x="624" y="1245"/>
                  <a:pt x="624" y="1210"/>
                </a:cubicBezTo>
                <a:cubicBezTo>
                  <a:pt x="624" y="62"/>
                  <a:pt x="624" y="62"/>
                  <a:pt x="624" y="62"/>
                </a:cubicBezTo>
                <a:cubicBezTo>
                  <a:pt x="624" y="28"/>
                  <a:pt x="597" y="0"/>
                  <a:pt x="562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30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3962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Прямоугольник 21">
            <a:extLst>
              <a:ext uri="{FF2B5EF4-FFF2-40B4-BE49-F238E27FC236}">
                <a16:creationId xmlns:a16="http://schemas.microsoft.com/office/drawing/2014/main" id="{E32DE6B7-4D1A-4AE7-8EE0-654DE087BF65}"/>
              </a:ext>
            </a:extLst>
          </p:cNvPr>
          <p:cNvSpPr/>
          <p:nvPr userDrawn="1"/>
        </p:nvSpPr>
        <p:spPr>
          <a:xfrm>
            <a:off x="0" y="1270546"/>
            <a:ext cx="9144000" cy="3407194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81" tIns="17140" rIns="34281" bIns="17140"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grpSp>
        <p:nvGrpSpPr>
          <p:cNvPr id="9" name="Группа 126">
            <a:extLst>
              <a:ext uri="{FF2B5EF4-FFF2-40B4-BE49-F238E27FC236}">
                <a16:creationId xmlns:a16="http://schemas.microsoft.com/office/drawing/2014/main" id="{A048296C-7F5D-463E-AC7F-FD26BAB620A2}"/>
              </a:ext>
            </a:extLst>
          </p:cNvPr>
          <p:cNvGrpSpPr/>
          <p:nvPr userDrawn="1"/>
        </p:nvGrpSpPr>
        <p:grpSpPr>
          <a:xfrm>
            <a:off x="6867105" y="978758"/>
            <a:ext cx="1812965" cy="3455499"/>
            <a:chOff x="-3543473" y="-4875014"/>
            <a:chExt cx="3414713" cy="6508750"/>
          </a:xfrm>
          <a:effectLst/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053ECADC-E730-4638-8117-B5EFBC6C8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6508750"/>
            </a:xfrm>
            <a:custGeom>
              <a:avLst/>
              <a:gdLst>
                <a:gd name="T0" fmla="*/ 595 w 690"/>
                <a:gd name="T1" fmla="*/ 1338 h 1338"/>
                <a:gd name="T2" fmla="*/ 95 w 690"/>
                <a:gd name="T3" fmla="*/ 1338 h 1338"/>
                <a:gd name="T4" fmla="*/ 0 w 690"/>
                <a:gd name="T5" fmla="*/ 1243 h 1338"/>
                <a:gd name="T6" fmla="*/ 0 w 690"/>
                <a:gd name="T7" fmla="*/ 95 h 1338"/>
                <a:gd name="T8" fmla="*/ 95 w 690"/>
                <a:gd name="T9" fmla="*/ 0 h 1338"/>
                <a:gd name="T10" fmla="*/ 595 w 690"/>
                <a:gd name="T11" fmla="*/ 0 h 1338"/>
                <a:gd name="T12" fmla="*/ 690 w 690"/>
                <a:gd name="T13" fmla="*/ 95 h 1338"/>
                <a:gd name="T14" fmla="*/ 690 w 690"/>
                <a:gd name="T15" fmla="*/ 1243 h 1338"/>
                <a:gd name="T16" fmla="*/ 595 w 690"/>
                <a:gd name="T17" fmla="*/ 1338 h 1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338">
                  <a:moveTo>
                    <a:pt x="595" y="1338"/>
                  </a:moveTo>
                  <a:cubicBezTo>
                    <a:pt x="95" y="1338"/>
                    <a:pt x="95" y="1338"/>
                    <a:pt x="95" y="1338"/>
                  </a:cubicBezTo>
                  <a:cubicBezTo>
                    <a:pt x="43" y="1338"/>
                    <a:pt x="0" y="1296"/>
                    <a:pt x="0" y="1243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42"/>
                    <a:pt x="43" y="0"/>
                    <a:pt x="95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648" y="0"/>
                    <a:pt x="690" y="42"/>
                    <a:pt x="690" y="95"/>
                  </a:cubicBezTo>
                  <a:cubicBezTo>
                    <a:pt x="690" y="1243"/>
                    <a:pt x="690" y="1243"/>
                    <a:pt x="690" y="1243"/>
                  </a:cubicBezTo>
                  <a:cubicBezTo>
                    <a:pt x="690" y="1296"/>
                    <a:pt x="648" y="1338"/>
                    <a:pt x="595" y="133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F92AA342-FDBF-4773-A864-2EC8A1B901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56160" y="-4816276"/>
              <a:ext cx="3240088" cy="6391275"/>
            </a:xfrm>
            <a:custGeom>
              <a:avLst/>
              <a:gdLst>
                <a:gd name="T0" fmla="*/ 583 w 666"/>
                <a:gd name="T1" fmla="*/ 1314 h 1314"/>
                <a:gd name="T2" fmla="*/ 83 w 666"/>
                <a:gd name="T3" fmla="*/ 1314 h 1314"/>
                <a:gd name="T4" fmla="*/ 0 w 666"/>
                <a:gd name="T5" fmla="*/ 1231 h 1314"/>
                <a:gd name="T6" fmla="*/ 0 w 666"/>
                <a:gd name="T7" fmla="*/ 83 h 1314"/>
                <a:gd name="T8" fmla="*/ 83 w 666"/>
                <a:gd name="T9" fmla="*/ 0 h 1314"/>
                <a:gd name="T10" fmla="*/ 583 w 666"/>
                <a:gd name="T11" fmla="*/ 0 h 1314"/>
                <a:gd name="T12" fmla="*/ 666 w 666"/>
                <a:gd name="T13" fmla="*/ 83 h 1314"/>
                <a:gd name="T14" fmla="*/ 666 w 666"/>
                <a:gd name="T15" fmla="*/ 1231 h 1314"/>
                <a:gd name="T16" fmla="*/ 583 w 666"/>
                <a:gd name="T17" fmla="*/ 1314 h 1314"/>
                <a:gd name="T18" fmla="*/ 83 w 666"/>
                <a:gd name="T19" fmla="*/ 2 h 1314"/>
                <a:gd name="T20" fmla="*/ 2 w 666"/>
                <a:gd name="T21" fmla="*/ 83 h 1314"/>
                <a:gd name="T22" fmla="*/ 2 w 666"/>
                <a:gd name="T23" fmla="*/ 1231 h 1314"/>
                <a:gd name="T24" fmla="*/ 83 w 666"/>
                <a:gd name="T25" fmla="*/ 1312 h 1314"/>
                <a:gd name="T26" fmla="*/ 583 w 666"/>
                <a:gd name="T27" fmla="*/ 1312 h 1314"/>
                <a:gd name="T28" fmla="*/ 664 w 666"/>
                <a:gd name="T29" fmla="*/ 1231 h 1314"/>
                <a:gd name="T30" fmla="*/ 664 w 666"/>
                <a:gd name="T31" fmla="*/ 83 h 1314"/>
                <a:gd name="T32" fmla="*/ 583 w 666"/>
                <a:gd name="T33" fmla="*/ 2 h 1314"/>
                <a:gd name="T34" fmla="*/ 83 w 666"/>
                <a:gd name="T35" fmla="*/ 2 h 1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6" h="1314">
                  <a:moveTo>
                    <a:pt x="583" y="1314"/>
                  </a:moveTo>
                  <a:cubicBezTo>
                    <a:pt x="83" y="1314"/>
                    <a:pt x="83" y="1314"/>
                    <a:pt x="83" y="1314"/>
                  </a:cubicBezTo>
                  <a:cubicBezTo>
                    <a:pt x="37" y="1314"/>
                    <a:pt x="0" y="1277"/>
                    <a:pt x="0" y="1231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583" y="0"/>
                    <a:pt x="583" y="0"/>
                    <a:pt x="583" y="0"/>
                  </a:cubicBezTo>
                  <a:cubicBezTo>
                    <a:pt x="629" y="0"/>
                    <a:pt x="666" y="37"/>
                    <a:pt x="666" y="83"/>
                  </a:cubicBezTo>
                  <a:cubicBezTo>
                    <a:pt x="666" y="1231"/>
                    <a:pt x="666" y="1231"/>
                    <a:pt x="666" y="1231"/>
                  </a:cubicBezTo>
                  <a:cubicBezTo>
                    <a:pt x="666" y="1277"/>
                    <a:pt x="629" y="1314"/>
                    <a:pt x="583" y="1314"/>
                  </a:cubicBezTo>
                  <a:close/>
                  <a:moveTo>
                    <a:pt x="83" y="2"/>
                  </a:moveTo>
                  <a:cubicBezTo>
                    <a:pt x="38" y="2"/>
                    <a:pt x="2" y="38"/>
                    <a:pt x="2" y="83"/>
                  </a:cubicBezTo>
                  <a:cubicBezTo>
                    <a:pt x="2" y="1231"/>
                    <a:pt x="2" y="1231"/>
                    <a:pt x="2" y="1231"/>
                  </a:cubicBezTo>
                  <a:cubicBezTo>
                    <a:pt x="2" y="1276"/>
                    <a:pt x="38" y="1312"/>
                    <a:pt x="83" y="1312"/>
                  </a:cubicBezTo>
                  <a:cubicBezTo>
                    <a:pt x="583" y="1312"/>
                    <a:pt x="583" y="1312"/>
                    <a:pt x="583" y="1312"/>
                  </a:cubicBezTo>
                  <a:cubicBezTo>
                    <a:pt x="628" y="1312"/>
                    <a:pt x="664" y="1276"/>
                    <a:pt x="664" y="1231"/>
                  </a:cubicBezTo>
                  <a:cubicBezTo>
                    <a:pt x="664" y="83"/>
                    <a:pt x="664" y="83"/>
                    <a:pt x="664" y="83"/>
                  </a:cubicBezTo>
                  <a:cubicBezTo>
                    <a:pt x="664" y="38"/>
                    <a:pt x="628" y="2"/>
                    <a:pt x="583" y="2"/>
                  </a:cubicBezTo>
                  <a:lnTo>
                    <a:pt x="83" y="2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6DDA3C1A-D117-49A7-B2F5-0BC15C493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73025"/>
            </a:xfrm>
            <a:custGeom>
              <a:avLst/>
              <a:gdLst>
                <a:gd name="T0" fmla="*/ 74 w 81"/>
                <a:gd name="T1" fmla="*/ 0 h 15"/>
                <a:gd name="T2" fmla="*/ 7 w 81"/>
                <a:gd name="T3" fmla="*/ 0 h 15"/>
                <a:gd name="T4" fmla="*/ 0 w 81"/>
                <a:gd name="T5" fmla="*/ 7 h 15"/>
                <a:gd name="T6" fmla="*/ 7 w 81"/>
                <a:gd name="T7" fmla="*/ 15 h 15"/>
                <a:gd name="T8" fmla="*/ 74 w 81"/>
                <a:gd name="T9" fmla="*/ 15 h 15"/>
                <a:gd name="T10" fmla="*/ 81 w 81"/>
                <a:gd name="T11" fmla="*/ 7 h 15"/>
                <a:gd name="T12" fmla="*/ 74 w 81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">
                  <a:moveTo>
                    <a:pt x="7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5"/>
                    <a:pt x="7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8" y="15"/>
                    <a:pt x="81" y="11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lose/>
                </a:path>
              </a:pathLst>
            </a:cu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C663BA41-6490-4346-8CDE-D7E0BB188AA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4637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FD3A51B2-5FC5-4E66-8288-B90CA91659D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916164"/>
              <a:ext cx="28575" cy="209550"/>
            </a:xfrm>
            <a:custGeom>
              <a:avLst/>
              <a:gdLst>
                <a:gd name="T0" fmla="*/ 5 w 6"/>
                <a:gd name="T1" fmla="*/ 0 h 43"/>
                <a:gd name="T2" fmla="*/ 0 w 6"/>
                <a:gd name="T3" fmla="*/ 4 h 43"/>
                <a:gd name="T4" fmla="*/ 0 w 6"/>
                <a:gd name="T5" fmla="*/ 39 h 43"/>
                <a:gd name="T6" fmla="*/ 5 w 6"/>
                <a:gd name="T7" fmla="*/ 43 h 43"/>
                <a:gd name="T8" fmla="*/ 6 w 6"/>
                <a:gd name="T9" fmla="*/ 43 h 43"/>
                <a:gd name="T10" fmla="*/ 6 w 6"/>
                <a:gd name="T11" fmla="*/ 0 h 43"/>
                <a:gd name="T12" fmla="*/ 5 w 6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3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2" y="43"/>
                    <a:pt x="5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927A508E-A941-47D2-96B3-C7917E9C8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29430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27850805-43AE-46F3-BE9D-728C911AA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1141611"/>
              <a:ext cx="3357563" cy="492125"/>
            </a:xfrm>
            <a:custGeom>
              <a:avLst/>
              <a:gdLst>
                <a:gd name="T0" fmla="*/ 595 w 690"/>
                <a:gd name="T1" fmla="*/ 95 h 101"/>
                <a:gd name="T2" fmla="*/ 95 w 690"/>
                <a:gd name="T3" fmla="*/ 95 h 101"/>
                <a:gd name="T4" fmla="*/ 0 w 690"/>
                <a:gd name="T5" fmla="*/ 0 h 101"/>
                <a:gd name="T6" fmla="*/ 0 w 690"/>
                <a:gd name="T7" fmla="*/ 6 h 101"/>
                <a:gd name="T8" fmla="*/ 95 w 690"/>
                <a:gd name="T9" fmla="*/ 101 h 101"/>
                <a:gd name="T10" fmla="*/ 595 w 690"/>
                <a:gd name="T11" fmla="*/ 101 h 101"/>
                <a:gd name="T12" fmla="*/ 690 w 690"/>
                <a:gd name="T13" fmla="*/ 6 h 101"/>
                <a:gd name="T14" fmla="*/ 690 w 690"/>
                <a:gd name="T15" fmla="*/ 0 h 101"/>
                <a:gd name="T16" fmla="*/ 595 w 690"/>
                <a:gd name="T17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595" y="95"/>
                  </a:moveTo>
                  <a:cubicBezTo>
                    <a:pt x="95" y="95"/>
                    <a:pt x="95" y="95"/>
                    <a:pt x="95" y="95"/>
                  </a:cubicBezTo>
                  <a:cubicBezTo>
                    <a:pt x="43" y="95"/>
                    <a:pt x="0" y="53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9"/>
                    <a:pt x="43" y="101"/>
                    <a:pt x="95" y="101"/>
                  </a:cubicBezTo>
                  <a:cubicBezTo>
                    <a:pt x="595" y="101"/>
                    <a:pt x="595" y="101"/>
                    <a:pt x="595" y="101"/>
                  </a:cubicBezTo>
                  <a:cubicBezTo>
                    <a:pt x="648" y="101"/>
                    <a:pt x="690" y="59"/>
                    <a:pt x="690" y="6"/>
                  </a:cubicBezTo>
                  <a:cubicBezTo>
                    <a:pt x="690" y="0"/>
                    <a:pt x="690" y="0"/>
                    <a:pt x="690" y="0"/>
                  </a:cubicBezTo>
                  <a:cubicBezTo>
                    <a:pt x="690" y="53"/>
                    <a:pt x="648" y="95"/>
                    <a:pt x="595" y="95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6D1DA30A-F040-4511-BEDD-E9F6982D9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492125"/>
            </a:xfrm>
            <a:custGeom>
              <a:avLst/>
              <a:gdLst>
                <a:gd name="T0" fmla="*/ 95 w 690"/>
                <a:gd name="T1" fmla="*/ 6 h 101"/>
                <a:gd name="T2" fmla="*/ 595 w 690"/>
                <a:gd name="T3" fmla="*/ 6 h 101"/>
                <a:gd name="T4" fmla="*/ 690 w 690"/>
                <a:gd name="T5" fmla="*/ 101 h 101"/>
                <a:gd name="T6" fmla="*/ 690 w 690"/>
                <a:gd name="T7" fmla="*/ 95 h 101"/>
                <a:gd name="T8" fmla="*/ 595 w 690"/>
                <a:gd name="T9" fmla="*/ 0 h 101"/>
                <a:gd name="T10" fmla="*/ 95 w 690"/>
                <a:gd name="T11" fmla="*/ 0 h 101"/>
                <a:gd name="T12" fmla="*/ 0 w 690"/>
                <a:gd name="T13" fmla="*/ 95 h 101"/>
                <a:gd name="T14" fmla="*/ 0 w 690"/>
                <a:gd name="T15" fmla="*/ 101 h 101"/>
                <a:gd name="T16" fmla="*/ 95 w 690"/>
                <a:gd name="T17" fmla="*/ 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95" y="6"/>
                  </a:moveTo>
                  <a:cubicBezTo>
                    <a:pt x="595" y="6"/>
                    <a:pt x="595" y="6"/>
                    <a:pt x="595" y="6"/>
                  </a:cubicBezTo>
                  <a:cubicBezTo>
                    <a:pt x="648" y="6"/>
                    <a:pt x="690" y="49"/>
                    <a:pt x="690" y="101"/>
                  </a:cubicBezTo>
                  <a:cubicBezTo>
                    <a:pt x="690" y="95"/>
                    <a:pt x="690" y="95"/>
                    <a:pt x="690" y="95"/>
                  </a:cubicBezTo>
                  <a:cubicBezTo>
                    <a:pt x="690" y="42"/>
                    <a:pt x="648" y="0"/>
                    <a:pt x="5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3" y="0"/>
                    <a:pt x="0" y="42"/>
                    <a:pt x="0" y="9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49"/>
                    <a:pt x="43" y="6"/>
                    <a:pt x="95" y="6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BF6279BD-6D9D-417D-8C17-FCA6537DD8F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44450"/>
            </a:xfrm>
            <a:custGeom>
              <a:avLst/>
              <a:gdLst>
                <a:gd name="T0" fmla="*/ 7 w 81"/>
                <a:gd name="T1" fmla="*/ 4 h 9"/>
                <a:gd name="T2" fmla="*/ 74 w 81"/>
                <a:gd name="T3" fmla="*/ 4 h 9"/>
                <a:gd name="T4" fmla="*/ 81 w 81"/>
                <a:gd name="T5" fmla="*/ 9 h 9"/>
                <a:gd name="T6" fmla="*/ 81 w 81"/>
                <a:gd name="T7" fmla="*/ 7 h 9"/>
                <a:gd name="T8" fmla="*/ 74 w 81"/>
                <a:gd name="T9" fmla="*/ 0 h 9"/>
                <a:gd name="T10" fmla="*/ 7 w 81"/>
                <a:gd name="T11" fmla="*/ 0 h 9"/>
                <a:gd name="T12" fmla="*/ 0 w 81"/>
                <a:gd name="T13" fmla="*/ 7 h 9"/>
                <a:gd name="T14" fmla="*/ 0 w 81"/>
                <a:gd name="T15" fmla="*/ 9 h 9"/>
                <a:gd name="T16" fmla="*/ 7 w 81"/>
                <a:gd name="T17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9">
                  <a:moveTo>
                    <a:pt x="7" y="4"/>
                  </a:moveTo>
                  <a:cubicBezTo>
                    <a:pt x="74" y="4"/>
                    <a:pt x="74" y="4"/>
                    <a:pt x="74" y="4"/>
                  </a:cubicBezTo>
                  <a:cubicBezTo>
                    <a:pt x="77" y="4"/>
                    <a:pt x="80" y="6"/>
                    <a:pt x="81" y="9"/>
                  </a:cubicBezTo>
                  <a:cubicBezTo>
                    <a:pt x="81" y="9"/>
                    <a:pt x="81" y="8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1" y="6"/>
                    <a:pt x="4" y="4"/>
                    <a:pt x="7" y="4"/>
                  </a:cubicBezTo>
                  <a:close/>
                </a:path>
              </a:pathLst>
            </a:cu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Oval 15">
              <a:extLst>
                <a:ext uri="{FF2B5EF4-FFF2-40B4-BE49-F238E27FC236}">
                  <a16:creationId xmlns:a16="http://schemas.microsoft.com/office/drawing/2014/main" id="{0FB70E9E-2B45-4016-ADD4-6DC47144EF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14735" y="-4694039"/>
              <a:ext cx="10160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Oval 16">
              <a:extLst>
                <a:ext uri="{FF2B5EF4-FFF2-40B4-BE49-F238E27FC236}">
                  <a16:creationId xmlns:a16="http://schemas.microsoft.com/office/drawing/2014/main" id="{243581DB-E17B-47E5-94B0-9BBAE3BBC3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1956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Oval 17">
              <a:extLst>
                <a:ext uri="{FF2B5EF4-FFF2-40B4-BE49-F238E27FC236}">
                  <a16:creationId xmlns:a16="http://schemas.microsoft.com/office/drawing/2014/main" id="{8BB89B5B-E1D6-4477-B69D-4D92C30B3C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83023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Oval 18">
              <a:extLst>
                <a:ext uri="{FF2B5EF4-FFF2-40B4-BE49-F238E27FC236}">
                  <a16:creationId xmlns:a16="http://schemas.microsoft.com/office/drawing/2014/main" id="{2677AA83-6C11-4AAA-8A1C-38CE3E0EB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59210" y="-4694039"/>
              <a:ext cx="98425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Oval 19">
              <a:extLst>
                <a:ext uri="{FF2B5EF4-FFF2-40B4-BE49-F238E27FC236}">
                  <a16:creationId xmlns:a16="http://schemas.microsoft.com/office/drawing/2014/main" id="{347498A8-8317-4156-9C67-B2F30043DA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33810" y="-4670226"/>
              <a:ext cx="47625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Oval 20">
              <a:extLst>
                <a:ext uri="{FF2B5EF4-FFF2-40B4-BE49-F238E27FC236}">
                  <a16:creationId xmlns:a16="http://schemas.microsoft.com/office/drawing/2014/main" id="{8784B471-FC6B-449B-AF55-86EE3923E0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59098" y="-4694039"/>
              <a:ext cx="10795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Oval 21">
              <a:extLst>
                <a:ext uri="{FF2B5EF4-FFF2-40B4-BE49-F238E27FC236}">
                  <a16:creationId xmlns:a16="http://schemas.microsoft.com/office/drawing/2014/main" id="{52A4795E-6331-44E7-8C67-ABD8539275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352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Oval 22">
              <a:extLst>
                <a:ext uri="{FF2B5EF4-FFF2-40B4-BE49-F238E27FC236}">
                  <a16:creationId xmlns:a16="http://schemas.microsoft.com/office/drawing/2014/main" id="{EB91F46B-7A8E-4D7C-B0DA-30F25821CD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30498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Oval 23">
              <a:extLst>
                <a:ext uri="{FF2B5EF4-FFF2-40B4-BE49-F238E27FC236}">
                  <a16:creationId xmlns:a16="http://schemas.microsoft.com/office/drawing/2014/main" id="{30A8B285-000F-410E-80D1-853148CA5F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11448" y="-4694039"/>
              <a:ext cx="103188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" name="Oval 24">
              <a:extLst>
                <a:ext uri="{FF2B5EF4-FFF2-40B4-BE49-F238E27FC236}">
                  <a16:creationId xmlns:a16="http://schemas.microsoft.com/office/drawing/2014/main" id="{4DF59777-F379-4826-AF5D-9852104348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86048" y="-4670226"/>
              <a:ext cx="52388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E93CF105-6846-4A8F-9B6E-62CDA17E3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916164"/>
              <a:ext cx="9525" cy="209550"/>
            </a:xfrm>
            <a:custGeom>
              <a:avLst/>
              <a:gdLst>
                <a:gd name="T0" fmla="*/ 0 w 2"/>
                <a:gd name="T1" fmla="*/ 0 h 43"/>
                <a:gd name="T2" fmla="*/ 0 w 2"/>
                <a:gd name="T3" fmla="*/ 43 h 43"/>
                <a:gd name="T4" fmla="*/ 1 w 2"/>
                <a:gd name="T5" fmla="*/ 43 h 43"/>
                <a:gd name="T6" fmla="*/ 2 w 2"/>
                <a:gd name="T7" fmla="*/ 43 h 43"/>
                <a:gd name="T8" fmla="*/ 2 w 2"/>
                <a:gd name="T9" fmla="*/ 0 h 43"/>
                <a:gd name="T10" fmla="*/ 1 w 2"/>
                <a:gd name="T11" fmla="*/ 0 h 43"/>
                <a:gd name="T12" fmla="*/ 0 w 2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3">
                  <a:moveTo>
                    <a:pt x="0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1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0EEF56BE-3D56-4316-AF3C-F9585325B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4637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id="{65D6B545-272C-443C-9575-39B093AADED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29430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1EABF3EB-E3FD-44A9-90BC-3955DBC6363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28575" cy="787400"/>
            </a:xfrm>
            <a:custGeom>
              <a:avLst/>
              <a:gdLst>
                <a:gd name="T0" fmla="*/ 6 w 6"/>
                <a:gd name="T1" fmla="*/ 158 h 162"/>
                <a:gd name="T2" fmla="*/ 6 w 6"/>
                <a:gd name="T3" fmla="*/ 4 h 162"/>
                <a:gd name="T4" fmla="*/ 2 w 6"/>
                <a:gd name="T5" fmla="*/ 0 h 162"/>
                <a:gd name="T6" fmla="*/ 0 w 6"/>
                <a:gd name="T7" fmla="*/ 0 h 162"/>
                <a:gd name="T8" fmla="*/ 0 w 6"/>
                <a:gd name="T9" fmla="*/ 162 h 162"/>
                <a:gd name="T10" fmla="*/ 2 w 6"/>
                <a:gd name="T11" fmla="*/ 162 h 162"/>
                <a:gd name="T12" fmla="*/ 6 w 6"/>
                <a:gd name="T13" fmla="*/ 15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62">
                  <a:moveTo>
                    <a:pt x="6" y="158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4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2"/>
                    <a:pt x="6" y="160"/>
                    <a:pt x="6" y="158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DF33744E-00AC-4BF9-8670-3059AF54BB6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9525" cy="787400"/>
            </a:xfrm>
            <a:custGeom>
              <a:avLst/>
              <a:gdLst>
                <a:gd name="T0" fmla="*/ 2 w 2"/>
                <a:gd name="T1" fmla="*/ 162 h 162"/>
                <a:gd name="T2" fmla="*/ 2 w 2"/>
                <a:gd name="T3" fmla="*/ 0 h 162"/>
                <a:gd name="T4" fmla="*/ 2 w 2"/>
                <a:gd name="T5" fmla="*/ 0 h 162"/>
                <a:gd name="T6" fmla="*/ 0 w 2"/>
                <a:gd name="T7" fmla="*/ 0 h 162"/>
                <a:gd name="T8" fmla="*/ 0 w 2"/>
                <a:gd name="T9" fmla="*/ 162 h 162"/>
                <a:gd name="T10" fmla="*/ 2 w 2"/>
                <a:gd name="T11" fmla="*/ 162 h 162"/>
                <a:gd name="T12" fmla="*/ 2 w 2"/>
                <a:gd name="T13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62">
                  <a:moveTo>
                    <a:pt x="2" y="162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2" y="162"/>
                    <a:pt x="2" y="162"/>
                    <a:pt x="2" y="162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Rectangle 30">
              <a:extLst>
                <a:ext uri="{FF2B5EF4-FFF2-40B4-BE49-F238E27FC236}">
                  <a16:creationId xmlns:a16="http://schemas.microsoft.com/office/drawing/2014/main" id="{C2DFAF6C-6FC4-47D7-B4B1-A6AD11F1AD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Rectangle 31">
              <a:extLst>
                <a:ext uri="{FF2B5EF4-FFF2-40B4-BE49-F238E27FC236}">
                  <a16:creationId xmlns:a16="http://schemas.microsoft.com/office/drawing/2014/main" id="{CE04325F-86D7-4E04-8DE2-3DDF2EA7C7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Rectangle 32">
              <a:extLst>
                <a:ext uri="{FF2B5EF4-FFF2-40B4-BE49-F238E27FC236}">
                  <a16:creationId xmlns:a16="http://schemas.microsoft.com/office/drawing/2014/main" id="{4A9C54E8-3EA9-41C4-8212-687B23BEC9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Rectangle 33">
              <a:extLst>
                <a:ext uri="{FF2B5EF4-FFF2-40B4-BE49-F238E27FC236}">
                  <a16:creationId xmlns:a16="http://schemas.microsoft.com/office/drawing/2014/main" id="{5CFC10DA-A4F5-4C72-B697-4CEA542545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38" name="Группа 155">
            <a:extLst>
              <a:ext uri="{FF2B5EF4-FFF2-40B4-BE49-F238E27FC236}">
                <a16:creationId xmlns:a16="http://schemas.microsoft.com/office/drawing/2014/main" id="{51B78E1D-93A7-40F4-A31F-D08FDE96F408}"/>
              </a:ext>
            </a:extLst>
          </p:cNvPr>
          <p:cNvGrpSpPr/>
          <p:nvPr userDrawn="1"/>
        </p:nvGrpSpPr>
        <p:grpSpPr>
          <a:xfrm>
            <a:off x="3626957" y="978758"/>
            <a:ext cx="1812965" cy="3455499"/>
            <a:chOff x="-3543473" y="-4875014"/>
            <a:chExt cx="3414713" cy="6508750"/>
          </a:xfrm>
          <a:effectLst/>
        </p:grpSpPr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id="{FFE1DF11-8D6D-40E7-BC59-568ECEC7AD2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6508750"/>
            </a:xfrm>
            <a:custGeom>
              <a:avLst/>
              <a:gdLst>
                <a:gd name="T0" fmla="*/ 595 w 690"/>
                <a:gd name="T1" fmla="*/ 1338 h 1338"/>
                <a:gd name="T2" fmla="*/ 95 w 690"/>
                <a:gd name="T3" fmla="*/ 1338 h 1338"/>
                <a:gd name="T4" fmla="*/ 0 w 690"/>
                <a:gd name="T5" fmla="*/ 1243 h 1338"/>
                <a:gd name="T6" fmla="*/ 0 w 690"/>
                <a:gd name="T7" fmla="*/ 95 h 1338"/>
                <a:gd name="T8" fmla="*/ 95 w 690"/>
                <a:gd name="T9" fmla="*/ 0 h 1338"/>
                <a:gd name="T10" fmla="*/ 595 w 690"/>
                <a:gd name="T11" fmla="*/ 0 h 1338"/>
                <a:gd name="T12" fmla="*/ 690 w 690"/>
                <a:gd name="T13" fmla="*/ 95 h 1338"/>
                <a:gd name="T14" fmla="*/ 690 w 690"/>
                <a:gd name="T15" fmla="*/ 1243 h 1338"/>
                <a:gd name="T16" fmla="*/ 595 w 690"/>
                <a:gd name="T17" fmla="*/ 1338 h 1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338">
                  <a:moveTo>
                    <a:pt x="595" y="1338"/>
                  </a:moveTo>
                  <a:cubicBezTo>
                    <a:pt x="95" y="1338"/>
                    <a:pt x="95" y="1338"/>
                    <a:pt x="95" y="1338"/>
                  </a:cubicBezTo>
                  <a:cubicBezTo>
                    <a:pt x="43" y="1338"/>
                    <a:pt x="0" y="1296"/>
                    <a:pt x="0" y="1243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42"/>
                    <a:pt x="43" y="0"/>
                    <a:pt x="95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648" y="0"/>
                    <a:pt x="690" y="42"/>
                    <a:pt x="690" y="95"/>
                  </a:cubicBezTo>
                  <a:cubicBezTo>
                    <a:pt x="690" y="1243"/>
                    <a:pt x="690" y="1243"/>
                    <a:pt x="690" y="1243"/>
                  </a:cubicBezTo>
                  <a:cubicBezTo>
                    <a:pt x="690" y="1296"/>
                    <a:pt x="648" y="1338"/>
                    <a:pt x="595" y="133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F313F226-EB05-4D8F-B7CC-965931E17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56160" y="-4816276"/>
              <a:ext cx="3240088" cy="6391275"/>
            </a:xfrm>
            <a:custGeom>
              <a:avLst/>
              <a:gdLst>
                <a:gd name="T0" fmla="*/ 583 w 666"/>
                <a:gd name="T1" fmla="*/ 1314 h 1314"/>
                <a:gd name="T2" fmla="*/ 83 w 666"/>
                <a:gd name="T3" fmla="*/ 1314 h 1314"/>
                <a:gd name="T4" fmla="*/ 0 w 666"/>
                <a:gd name="T5" fmla="*/ 1231 h 1314"/>
                <a:gd name="T6" fmla="*/ 0 w 666"/>
                <a:gd name="T7" fmla="*/ 83 h 1314"/>
                <a:gd name="T8" fmla="*/ 83 w 666"/>
                <a:gd name="T9" fmla="*/ 0 h 1314"/>
                <a:gd name="T10" fmla="*/ 583 w 666"/>
                <a:gd name="T11" fmla="*/ 0 h 1314"/>
                <a:gd name="T12" fmla="*/ 666 w 666"/>
                <a:gd name="T13" fmla="*/ 83 h 1314"/>
                <a:gd name="T14" fmla="*/ 666 w 666"/>
                <a:gd name="T15" fmla="*/ 1231 h 1314"/>
                <a:gd name="T16" fmla="*/ 583 w 666"/>
                <a:gd name="T17" fmla="*/ 1314 h 1314"/>
                <a:gd name="T18" fmla="*/ 83 w 666"/>
                <a:gd name="T19" fmla="*/ 2 h 1314"/>
                <a:gd name="T20" fmla="*/ 2 w 666"/>
                <a:gd name="T21" fmla="*/ 83 h 1314"/>
                <a:gd name="T22" fmla="*/ 2 w 666"/>
                <a:gd name="T23" fmla="*/ 1231 h 1314"/>
                <a:gd name="T24" fmla="*/ 83 w 666"/>
                <a:gd name="T25" fmla="*/ 1312 h 1314"/>
                <a:gd name="T26" fmla="*/ 583 w 666"/>
                <a:gd name="T27" fmla="*/ 1312 h 1314"/>
                <a:gd name="T28" fmla="*/ 664 w 666"/>
                <a:gd name="T29" fmla="*/ 1231 h 1314"/>
                <a:gd name="T30" fmla="*/ 664 w 666"/>
                <a:gd name="T31" fmla="*/ 83 h 1314"/>
                <a:gd name="T32" fmla="*/ 583 w 666"/>
                <a:gd name="T33" fmla="*/ 2 h 1314"/>
                <a:gd name="T34" fmla="*/ 83 w 666"/>
                <a:gd name="T35" fmla="*/ 2 h 1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6" h="1314">
                  <a:moveTo>
                    <a:pt x="583" y="1314"/>
                  </a:moveTo>
                  <a:cubicBezTo>
                    <a:pt x="83" y="1314"/>
                    <a:pt x="83" y="1314"/>
                    <a:pt x="83" y="1314"/>
                  </a:cubicBezTo>
                  <a:cubicBezTo>
                    <a:pt x="37" y="1314"/>
                    <a:pt x="0" y="1277"/>
                    <a:pt x="0" y="1231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583" y="0"/>
                    <a:pt x="583" y="0"/>
                    <a:pt x="583" y="0"/>
                  </a:cubicBezTo>
                  <a:cubicBezTo>
                    <a:pt x="629" y="0"/>
                    <a:pt x="666" y="37"/>
                    <a:pt x="666" y="83"/>
                  </a:cubicBezTo>
                  <a:cubicBezTo>
                    <a:pt x="666" y="1231"/>
                    <a:pt x="666" y="1231"/>
                    <a:pt x="666" y="1231"/>
                  </a:cubicBezTo>
                  <a:cubicBezTo>
                    <a:pt x="666" y="1277"/>
                    <a:pt x="629" y="1314"/>
                    <a:pt x="583" y="1314"/>
                  </a:cubicBezTo>
                  <a:close/>
                  <a:moveTo>
                    <a:pt x="83" y="2"/>
                  </a:moveTo>
                  <a:cubicBezTo>
                    <a:pt x="38" y="2"/>
                    <a:pt x="2" y="38"/>
                    <a:pt x="2" y="83"/>
                  </a:cubicBezTo>
                  <a:cubicBezTo>
                    <a:pt x="2" y="1231"/>
                    <a:pt x="2" y="1231"/>
                    <a:pt x="2" y="1231"/>
                  </a:cubicBezTo>
                  <a:cubicBezTo>
                    <a:pt x="2" y="1276"/>
                    <a:pt x="38" y="1312"/>
                    <a:pt x="83" y="1312"/>
                  </a:cubicBezTo>
                  <a:cubicBezTo>
                    <a:pt x="583" y="1312"/>
                    <a:pt x="583" y="1312"/>
                    <a:pt x="583" y="1312"/>
                  </a:cubicBezTo>
                  <a:cubicBezTo>
                    <a:pt x="628" y="1312"/>
                    <a:pt x="664" y="1276"/>
                    <a:pt x="664" y="1231"/>
                  </a:cubicBezTo>
                  <a:cubicBezTo>
                    <a:pt x="664" y="83"/>
                    <a:pt x="664" y="83"/>
                    <a:pt x="664" y="83"/>
                  </a:cubicBezTo>
                  <a:cubicBezTo>
                    <a:pt x="664" y="38"/>
                    <a:pt x="628" y="2"/>
                    <a:pt x="583" y="2"/>
                  </a:cubicBezTo>
                  <a:lnTo>
                    <a:pt x="83" y="2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996A4164-A975-4B78-A778-64AB1EC5B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73025"/>
            </a:xfrm>
            <a:custGeom>
              <a:avLst/>
              <a:gdLst>
                <a:gd name="T0" fmla="*/ 74 w 81"/>
                <a:gd name="T1" fmla="*/ 0 h 15"/>
                <a:gd name="T2" fmla="*/ 7 w 81"/>
                <a:gd name="T3" fmla="*/ 0 h 15"/>
                <a:gd name="T4" fmla="*/ 0 w 81"/>
                <a:gd name="T5" fmla="*/ 7 h 15"/>
                <a:gd name="T6" fmla="*/ 7 w 81"/>
                <a:gd name="T7" fmla="*/ 15 h 15"/>
                <a:gd name="T8" fmla="*/ 74 w 81"/>
                <a:gd name="T9" fmla="*/ 15 h 15"/>
                <a:gd name="T10" fmla="*/ 81 w 81"/>
                <a:gd name="T11" fmla="*/ 7 h 15"/>
                <a:gd name="T12" fmla="*/ 74 w 81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">
                  <a:moveTo>
                    <a:pt x="7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5"/>
                    <a:pt x="7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8" y="15"/>
                    <a:pt x="81" y="11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lose/>
                </a:path>
              </a:pathLst>
            </a:cu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922F339C-8B7D-488B-8DC2-355CC5342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4637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FDF5369B-9B2B-476A-9782-2DAAA63D4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916164"/>
              <a:ext cx="28575" cy="209550"/>
            </a:xfrm>
            <a:custGeom>
              <a:avLst/>
              <a:gdLst>
                <a:gd name="T0" fmla="*/ 5 w 6"/>
                <a:gd name="T1" fmla="*/ 0 h 43"/>
                <a:gd name="T2" fmla="*/ 0 w 6"/>
                <a:gd name="T3" fmla="*/ 4 h 43"/>
                <a:gd name="T4" fmla="*/ 0 w 6"/>
                <a:gd name="T5" fmla="*/ 39 h 43"/>
                <a:gd name="T6" fmla="*/ 5 w 6"/>
                <a:gd name="T7" fmla="*/ 43 h 43"/>
                <a:gd name="T8" fmla="*/ 6 w 6"/>
                <a:gd name="T9" fmla="*/ 43 h 43"/>
                <a:gd name="T10" fmla="*/ 6 w 6"/>
                <a:gd name="T11" fmla="*/ 0 h 43"/>
                <a:gd name="T12" fmla="*/ 5 w 6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3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2" y="43"/>
                    <a:pt x="5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8593727A-4668-48B2-A3F8-32949A0BA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29430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Freeform 12">
              <a:extLst>
                <a:ext uri="{FF2B5EF4-FFF2-40B4-BE49-F238E27FC236}">
                  <a16:creationId xmlns:a16="http://schemas.microsoft.com/office/drawing/2014/main" id="{92AD8A6B-3E1E-4B5C-A361-CB5703AA2D0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1141611"/>
              <a:ext cx="3357563" cy="492125"/>
            </a:xfrm>
            <a:custGeom>
              <a:avLst/>
              <a:gdLst>
                <a:gd name="T0" fmla="*/ 595 w 690"/>
                <a:gd name="T1" fmla="*/ 95 h 101"/>
                <a:gd name="T2" fmla="*/ 95 w 690"/>
                <a:gd name="T3" fmla="*/ 95 h 101"/>
                <a:gd name="T4" fmla="*/ 0 w 690"/>
                <a:gd name="T5" fmla="*/ 0 h 101"/>
                <a:gd name="T6" fmla="*/ 0 w 690"/>
                <a:gd name="T7" fmla="*/ 6 h 101"/>
                <a:gd name="T8" fmla="*/ 95 w 690"/>
                <a:gd name="T9" fmla="*/ 101 h 101"/>
                <a:gd name="T10" fmla="*/ 595 w 690"/>
                <a:gd name="T11" fmla="*/ 101 h 101"/>
                <a:gd name="T12" fmla="*/ 690 w 690"/>
                <a:gd name="T13" fmla="*/ 6 h 101"/>
                <a:gd name="T14" fmla="*/ 690 w 690"/>
                <a:gd name="T15" fmla="*/ 0 h 101"/>
                <a:gd name="T16" fmla="*/ 595 w 690"/>
                <a:gd name="T17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595" y="95"/>
                  </a:moveTo>
                  <a:cubicBezTo>
                    <a:pt x="95" y="95"/>
                    <a:pt x="95" y="95"/>
                    <a:pt x="95" y="95"/>
                  </a:cubicBezTo>
                  <a:cubicBezTo>
                    <a:pt x="43" y="95"/>
                    <a:pt x="0" y="53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9"/>
                    <a:pt x="43" y="101"/>
                    <a:pt x="95" y="101"/>
                  </a:cubicBezTo>
                  <a:cubicBezTo>
                    <a:pt x="595" y="101"/>
                    <a:pt x="595" y="101"/>
                    <a:pt x="595" y="101"/>
                  </a:cubicBezTo>
                  <a:cubicBezTo>
                    <a:pt x="648" y="101"/>
                    <a:pt x="690" y="59"/>
                    <a:pt x="690" y="6"/>
                  </a:cubicBezTo>
                  <a:cubicBezTo>
                    <a:pt x="690" y="0"/>
                    <a:pt x="690" y="0"/>
                    <a:pt x="690" y="0"/>
                  </a:cubicBezTo>
                  <a:cubicBezTo>
                    <a:pt x="690" y="53"/>
                    <a:pt x="648" y="95"/>
                    <a:pt x="595" y="95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Freeform 13">
              <a:extLst>
                <a:ext uri="{FF2B5EF4-FFF2-40B4-BE49-F238E27FC236}">
                  <a16:creationId xmlns:a16="http://schemas.microsoft.com/office/drawing/2014/main" id="{21B01521-9DCB-494A-B582-43674F79956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492125"/>
            </a:xfrm>
            <a:custGeom>
              <a:avLst/>
              <a:gdLst>
                <a:gd name="T0" fmla="*/ 95 w 690"/>
                <a:gd name="T1" fmla="*/ 6 h 101"/>
                <a:gd name="T2" fmla="*/ 595 w 690"/>
                <a:gd name="T3" fmla="*/ 6 h 101"/>
                <a:gd name="T4" fmla="*/ 690 w 690"/>
                <a:gd name="T5" fmla="*/ 101 h 101"/>
                <a:gd name="T6" fmla="*/ 690 w 690"/>
                <a:gd name="T7" fmla="*/ 95 h 101"/>
                <a:gd name="T8" fmla="*/ 595 w 690"/>
                <a:gd name="T9" fmla="*/ 0 h 101"/>
                <a:gd name="T10" fmla="*/ 95 w 690"/>
                <a:gd name="T11" fmla="*/ 0 h 101"/>
                <a:gd name="T12" fmla="*/ 0 w 690"/>
                <a:gd name="T13" fmla="*/ 95 h 101"/>
                <a:gd name="T14" fmla="*/ 0 w 690"/>
                <a:gd name="T15" fmla="*/ 101 h 101"/>
                <a:gd name="T16" fmla="*/ 95 w 690"/>
                <a:gd name="T17" fmla="*/ 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95" y="6"/>
                  </a:moveTo>
                  <a:cubicBezTo>
                    <a:pt x="595" y="6"/>
                    <a:pt x="595" y="6"/>
                    <a:pt x="595" y="6"/>
                  </a:cubicBezTo>
                  <a:cubicBezTo>
                    <a:pt x="648" y="6"/>
                    <a:pt x="690" y="49"/>
                    <a:pt x="690" y="101"/>
                  </a:cubicBezTo>
                  <a:cubicBezTo>
                    <a:pt x="690" y="95"/>
                    <a:pt x="690" y="95"/>
                    <a:pt x="690" y="95"/>
                  </a:cubicBezTo>
                  <a:cubicBezTo>
                    <a:pt x="690" y="42"/>
                    <a:pt x="648" y="0"/>
                    <a:pt x="5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3" y="0"/>
                    <a:pt x="0" y="42"/>
                    <a:pt x="0" y="9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49"/>
                    <a:pt x="43" y="6"/>
                    <a:pt x="95" y="6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Freeform 14">
              <a:extLst>
                <a:ext uri="{FF2B5EF4-FFF2-40B4-BE49-F238E27FC236}">
                  <a16:creationId xmlns:a16="http://schemas.microsoft.com/office/drawing/2014/main" id="{4D3CCE09-68ED-4D73-B6D8-4C6685E88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44450"/>
            </a:xfrm>
            <a:custGeom>
              <a:avLst/>
              <a:gdLst>
                <a:gd name="T0" fmla="*/ 7 w 81"/>
                <a:gd name="T1" fmla="*/ 4 h 9"/>
                <a:gd name="T2" fmla="*/ 74 w 81"/>
                <a:gd name="T3" fmla="*/ 4 h 9"/>
                <a:gd name="T4" fmla="*/ 81 w 81"/>
                <a:gd name="T5" fmla="*/ 9 h 9"/>
                <a:gd name="T6" fmla="*/ 81 w 81"/>
                <a:gd name="T7" fmla="*/ 7 h 9"/>
                <a:gd name="T8" fmla="*/ 74 w 81"/>
                <a:gd name="T9" fmla="*/ 0 h 9"/>
                <a:gd name="T10" fmla="*/ 7 w 81"/>
                <a:gd name="T11" fmla="*/ 0 h 9"/>
                <a:gd name="T12" fmla="*/ 0 w 81"/>
                <a:gd name="T13" fmla="*/ 7 h 9"/>
                <a:gd name="T14" fmla="*/ 0 w 81"/>
                <a:gd name="T15" fmla="*/ 9 h 9"/>
                <a:gd name="T16" fmla="*/ 7 w 81"/>
                <a:gd name="T17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9">
                  <a:moveTo>
                    <a:pt x="7" y="4"/>
                  </a:moveTo>
                  <a:cubicBezTo>
                    <a:pt x="74" y="4"/>
                    <a:pt x="74" y="4"/>
                    <a:pt x="74" y="4"/>
                  </a:cubicBezTo>
                  <a:cubicBezTo>
                    <a:pt x="77" y="4"/>
                    <a:pt x="80" y="6"/>
                    <a:pt x="81" y="9"/>
                  </a:cubicBezTo>
                  <a:cubicBezTo>
                    <a:pt x="81" y="9"/>
                    <a:pt x="81" y="8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1" y="6"/>
                    <a:pt x="4" y="4"/>
                    <a:pt x="7" y="4"/>
                  </a:cubicBezTo>
                  <a:close/>
                </a:path>
              </a:pathLst>
            </a:cu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Oval 15">
              <a:extLst>
                <a:ext uri="{FF2B5EF4-FFF2-40B4-BE49-F238E27FC236}">
                  <a16:creationId xmlns:a16="http://schemas.microsoft.com/office/drawing/2014/main" id="{5CCEBBBF-7C7F-45AC-8A82-67EEC91F57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14735" y="-4694039"/>
              <a:ext cx="10160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Oval 16">
              <a:extLst>
                <a:ext uri="{FF2B5EF4-FFF2-40B4-BE49-F238E27FC236}">
                  <a16:creationId xmlns:a16="http://schemas.microsoft.com/office/drawing/2014/main" id="{8ADCA090-F429-40F8-81B3-BF588CE45E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1956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" name="Oval 17">
              <a:extLst>
                <a:ext uri="{FF2B5EF4-FFF2-40B4-BE49-F238E27FC236}">
                  <a16:creationId xmlns:a16="http://schemas.microsoft.com/office/drawing/2014/main" id="{C32CD1CD-FE94-4CCB-B5E4-FFC37CCD3E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83023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" name="Oval 18">
              <a:extLst>
                <a:ext uri="{FF2B5EF4-FFF2-40B4-BE49-F238E27FC236}">
                  <a16:creationId xmlns:a16="http://schemas.microsoft.com/office/drawing/2014/main" id="{4F565520-F27C-4A8D-A8D2-5C279A5544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59210" y="-4694039"/>
              <a:ext cx="98425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" name="Oval 19">
              <a:extLst>
                <a:ext uri="{FF2B5EF4-FFF2-40B4-BE49-F238E27FC236}">
                  <a16:creationId xmlns:a16="http://schemas.microsoft.com/office/drawing/2014/main" id="{89C10A88-A3A5-434E-92C0-BB7F9D5D6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33810" y="-4670226"/>
              <a:ext cx="47625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" name="Oval 20">
              <a:extLst>
                <a:ext uri="{FF2B5EF4-FFF2-40B4-BE49-F238E27FC236}">
                  <a16:creationId xmlns:a16="http://schemas.microsoft.com/office/drawing/2014/main" id="{397D51FF-E6DA-4FC0-B26D-F2389C1C18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59098" y="-4694039"/>
              <a:ext cx="10795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" name="Oval 21">
              <a:extLst>
                <a:ext uri="{FF2B5EF4-FFF2-40B4-BE49-F238E27FC236}">
                  <a16:creationId xmlns:a16="http://schemas.microsoft.com/office/drawing/2014/main" id="{51B9E20D-548C-4ED4-B37F-0CAC17D85B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352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" name="Oval 22">
              <a:extLst>
                <a:ext uri="{FF2B5EF4-FFF2-40B4-BE49-F238E27FC236}">
                  <a16:creationId xmlns:a16="http://schemas.microsoft.com/office/drawing/2014/main" id="{BB6FD23F-628C-4178-8825-A36908DB41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30498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" name="Oval 23">
              <a:extLst>
                <a:ext uri="{FF2B5EF4-FFF2-40B4-BE49-F238E27FC236}">
                  <a16:creationId xmlns:a16="http://schemas.microsoft.com/office/drawing/2014/main" id="{74EB880B-4772-409F-9427-3C24AC1290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11448" y="-4694039"/>
              <a:ext cx="103188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" name="Oval 24">
              <a:extLst>
                <a:ext uri="{FF2B5EF4-FFF2-40B4-BE49-F238E27FC236}">
                  <a16:creationId xmlns:a16="http://schemas.microsoft.com/office/drawing/2014/main" id="{5192193E-BC04-409B-A12A-9EC98D2D1B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86048" y="-4670226"/>
              <a:ext cx="52388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" name="Freeform 25">
              <a:extLst>
                <a:ext uri="{FF2B5EF4-FFF2-40B4-BE49-F238E27FC236}">
                  <a16:creationId xmlns:a16="http://schemas.microsoft.com/office/drawing/2014/main" id="{2A7F1686-C350-4AC3-9FE3-C34073AC173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916164"/>
              <a:ext cx="9525" cy="209550"/>
            </a:xfrm>
            <a:custGeom>
              <a:avLst/>
              <a:gdLst>
                <a:gd name="T0" fmla="*/ 0 w 2"/>
                <a:gd name="T1" fmla="*/ 0 h 43"/>
                <a:gd name="T2" fmla="*/ 0 w 2"/>
                <a:gd name="T3" fmla="*/ 43 h 43"/>
                <a:gd name="T4" fmla="*/ 1 w 2"/>
                <a:gd name="T5" fmla="*/ 43 h 43"/>
                <a:gd name="T6" fmla="*/ 2 w 2"/>
                <a:gd name="T7" fmla="*/ 43 h 43"/>
                <a:gd name="T8" fmla="*/ 2 w 2"/>
                <a:gd name="T9" fmla="*/ 0 h 43"/>
                <a:gd name="T10" fmla="*/ 1 w 2"/>
                <a:gd name="T11" fmla="*/ 0 h 43"/>
                <a:gd name="T12" fmla="*/ 0 w 2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3">
                  <a:moveTo>
                    <a:pt x="0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1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" name="Freeform 26">
              <a:extLst>
                <a:ext uri="{FF2B5EF4-FFF2-40B4-BE49-F238E27FC236}">
                  <a16:creationId xmlns:a16="http://schemas.microsoft.com/office/drawing/2014/main" id="{8F54CFF4-283F-4F17-9D91-E8BB3503C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4637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" name="Freeform 27">
              <a:extLst>
                <a:ext uri="{FF2B5EF4-FFF2-40B4-BE49-F238E27FC236}">
                  <a16:creationId xmlns:a16="http://schemas.microsoft.com/office/drawing/2014/main" id="{4A3FB082-3DE9-4BC4-8718-EFC7DBBA220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29430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" name="Freeform 28">
              <a:extLst>
                <a:ext uri="{FF2B5EF4-FFF2-40B4-BE49-F238E27FC236}">
                  <a16:creationId xmlns:a16="http://schemas.microsoft.com/office/drawing/2014/main" id="{8436467B-8914-422C-9469-05E8BDF3E3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28575" cy="787400"/>
            </a:xfrm>
            <a:custGeom>
              <a:avLst/>
              <a:gdLst>
                <a:gd name="T0" fmla="*/ 6 w 6"/>
                <a:gd name="T1" fmla="*/ 158 h 162"/>
                <a:gd name="T2" fmla="*/ 6 w 6"/>
                <a:gd name="T3" fmla="*/ 4 h 162"/>
                <a:gd name="T4" fmla="*/ 2 w 6"/>
                <a:gd name="T5" fmla="*/ 0 h 162"/>
                <a:gd name="T6" fmla="*/ 0 w 6"/>
                <a:gd name="T7" fmla="*/ 0 h 162"/>
                <a:gd name="T8" fmla="*/ 0 w 6"/>
                <a:gd name="T9" fmla="*/ 162 h 162"/>
                <a:gd name="T10" fmla="*/ 2 w 6"/>
                <a:gd name="T11" fmla="*/ 162 h 162"/>
                <a:gd name="T12" fmla="*/ 6 w 6"/>
                <a:gd name="T13" fmla="*/ 15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62">
                  <a:moveTo>
                    <a:pt x="6" y="158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4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2"/>
                    <a:pt x="6" y="160"/>
                    <a:pt x="6" y="158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" name="Freeform 29">
              <a:extLst>
                <a:ext uri="{FF2B5EF4-FFF2-40B4-BE49-F238E27FC236}">
                  <a16:creationId xmlns:a16="http://schemas.microsoft.com/office/drawing/2014/main" id="{9A17E4B3-7C71-4B00-9805-B46DE126E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9525" cy="787400"/>
            </a:xfrm>
            <a:custGeom>
              <a:avLst/>
              <a:gdLst>
                <a:gd name="T0" fmla="*/ 2 w 2"/>
                <a:gd name="T1" fmla="*/ 162 h 162"/>
                <a:gd name="T2" fmla="*/ 2 w 2"/>
                <a:gd name="T3" fmla="*/ 0 h 162"/>
                <a:gd name="T4" fmla="*/ 2 w 2"/>
                <a:gd name="T5" fmla="*/ 0 h 162"/>
                <a:gd name="T6" fmla="*/ 0 w 2"/>
                <a:gd name="T7" fmla="*/ 0 h 162"/>
                <a:gd name="T8" fmla="*/ 0 w 2"/>
                <a:gd name="T9" fmla="*/ 162 h 162"/>
                <a:gd name="T10" fmla="*/ 2 w 2"/>
                <a:gd name="T11" fmla="*/ 162 h 162"/>
                <a:gd name="T12" fmla="*/ 2 w 2"/>
                <a:gd name="T13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62">
                  <a:moveTo>
                    <a:pt x="2" y="162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2" y="162"/>
                    <a:pt x="2" y="162"/>
                    <a:pt x="2" y="162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" name="Rectangle 30">
              <a:extLst>
                <a:ext uri="{FF2B5EF4-FFF2-40B4-BE49-F238E27FC236}">
                  <a16:creationId xmlns:a16="http://schemas.microsoft.com/office/drawing/2014/main" id="{9DE3C726-D714-4EDF-BBEA-00C3D77F2A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" name="Rectangle 31">
              <a:extLst>
                <a:ext uri="{FF2B5EF4-FFF2-40B4-BE49-F238E27FC236}">
                  <a16:creationId xmlns:a16="http://schemas.microsoft.com/office/drawing/2014/main" id="{023670C0-B321-4C90-BC7A-44033C2B45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" name="Rectangle 32">
              <a:extLst>
                <a:ext uri="{FF2B5EF4-FFF2-40B4-BE49-F238E27FC236}">
                  <a16:creationId xmlns:a16="http://schemas.microsoft.com/office/drawing/2014/main" id="{A65B4DFD-88E3-4D13-A159-448A498A29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" name="Rectangle 33">
              <a:extLst>
                <a:ext uri="{FF2B5EF4-FFF2-40B4-BE49-F238E27FC236}">
                  <a16:creationId xmlns:a16="http://schemas.microsoft.com/office/drawing/2014/main" id="{7C791AB0-B986-476B-917D-99EF307D38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67" name="Freeform 7">
            <a:extLst>
              <a:ext uri="{FF2B5EF4-FFF2-40B4-BE49-F238E27FC236}">
                <a16:creationId xmlns:a16="http://schemas.microsoft.com/office/drawing/2014/main" id="{6EEBB929-53A7-42F8-8771-C778CAFAE0F4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 bwMode="auto">
          <a:xfrm>
            <a:off x="6966441" y="1063880"/>
            <a:ext cx="1605624" cy="3285253"/>
          </a:xfrm>
          <a:custGeom>
            <a:avLst/>
            <a:gdLst>
              <a:gd name="T0" fmla="*/ 562 w 624"/>
              <a:gd name="T1" fmla="*/ 0 h 1272"/>
              <a:gd name="T2" fmla="*/ 507 w 624"/>
              <a:gd name="T3" fmla="*/ 0 h 1272"/>
              <a:gd name="T4" fmla="*/ 477 w 624"/>
              <a:gd name="T5" fmla="*/ 20 h 1272"/>
              <a:gd name="T6" fmla="*/ 476 w 624"/>
              <a:gd name="T7" fmla="*/ 22 h 1272"/>
              <a:gd name="T8" fmla="*/ 447 w 624"/>
              <a:gd name="T9" fmla="*/ 42 h 1272"/>
              <a:gd name="T10" fmla="*/ 178 w 624"/>
              <a:gd name="T11" fmla="*/ 42 h 1272"/>
              <a:gd name="T12" fmla="*/ 148 w 624"/>
              <a:gd name="T13" fmla="*/ 22 h 1272"/>
              <a:gd name="T14" fmla="*/ 147 w 624"/>
              <a:gd name="T15" fmla="*/ 20 h 1272"/>
              <a:gd name="T16" fmla="*/ 118 w 624"/>
              <a:gd name="T17" fmla="*/ 0 h 1272"/>
              <a:gd name="T18" fmla="*/ 63 w 624"/>
              <a:gd name="T19" fmla="*/ 0 h 1272"/>
              <a:gd name="T20" fmla="*/ 17 w 624"/>
              <a:gd name="T21" fmla="*/ 20 h 1272"/>
              <a:gd name="T22" fmla="*/ 0 w 624"/>
              <a:gd name="T23" fmla="*/ 62 h 1272"/>
              <a:gd name="T24" fmla="*/ 0 w 624"/>
              <a:gd name="T25" fmla="*/ 1210 h 1272"/>
              <a:gd name="T26" fmla="*/ 18 w 624"/>
              <a:gd name="T27" fmla="*/ 1254 h 1272"/>
              <a:gd name="T28" fmla="*/ 62 w 624"/>
              <a:gd name="T29" fmla="*/ 1272 h 1272"/>
              <a:gd name="T30" fmla="*/ 562 w 624"/>
              <a:gd name="T31" fmla="*/ 1272 h 1272"/>
              <a:gd name="T32" fmla="*/ 624 w 624"/>
              <a:gd name="T33" fmla="*/ 1210 h 1272"/>
              <a:gd name="T34" fmla="*/ 624 w 624"/>
              <a:gd name="T35" fmla="*/ 62 h 1272"/>
              <a:gd name="T36" fmla="*/ 562 w 624"/>
              <a:gd name="T37" fmla="*/ 0 h 1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4" h="1272">
                <a:moveTo>
                  <a:pt x="562" y="0"/>
                </a:moveTo>
                <a:cubicBezTo>
                  <a:pt x="507" y="0"/>
                  <a:pt x="507" y="0"/>
                  <a:pt x="507" y="0"/>
                </a:cubicBezTo>
                <a:cubicBezTo>
                  <a:pt x="494" y="0"/>
                  <a:pt x="482" y="8"/>
                  <a:pt x="477" y="20"/>
                </a:cubicBezTo>
                <a:cubicBezTo>
                  <a:pt x="476" y="22"/>
                  <a:pt x="476" y="22"/>
                  <a:pt x="476" y="22"/>
                </a:cubicBezTo>
                <a:cubicBezTo>
                  <a:pt x="472" y="35"/>
                  <a:pt x="460" y="42"/>
                  <a:pt x="447" y="42"/>
                </a:cubicBezTo>
                <a:cubicBezTo>
                  <a:pt x="178" y="42"/>
                  <a:pt x="178" y="42"/>
                  <a:pt x="178" y="42"/>
                </a:cubicBezTo>
                <a:cubicBezTo>
                  <a:pt x="165" y="42"/>
                  <a:pt x="153" y="35"/>
                  <a:pt x="148" y="22"/>
                </a:cubicBezTo>
                <a:cubicBezTo>
                  <a:pt x="147" y="20"/>
                  <a:pt x="147" y="20"/>
                  <a:pt x="147" y="20"/>
                </a:cubicBezTo>
                <a:cubicBezTo>
                  <a:pt x="142" y="8"/>
                  <a:pt x="131" y="0"/>
                  <a:pt x="118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45" y="0"/>
                  <a:pt x="28" y="7"/>
                  <a:pt x="17" y="20"/>
                </a:cubicBezTo>
                <a:cubicBezTo>
                  <a:pt x="6" y="31"/>
                  <a:pt x="0" y="46"/>
                  <a:pt x="0" y="62"/>
                </a:cubicBezTo>
                <a:cubicBezTo>
                  <a:pt x="0" y="1210"/>
                  <a:pt x="0" y="1210"/>
                  <a:pt x="0" y="1210"/>
                </a:cubicBezTo>
                <a:cubicBezTo>
                  <a:pt x="0" y="1227"/>
                  <a:pt x="7" y="1243"/>
                  <a:pt x="18" y="1254"/>
                </a:cubicBezTo>
                <a:cubicBezTo>
                  <a:pt x="30" y="1266"/>
                  <a:pt x="46" y="1272"/>
                  <a:pt x="62" y="1272"/>
                </a:cubicBezTo>
                <a:cubicBezTo>
                  <a:pt x="562" y="1272"/>
                  <a:pt x="562" y="1272"/>
                  <a:pt x="562" y="1272"/>
                </a:cubicBezTo>
                <a:cubicBezTo>
                  <a:pt x="597" y="1272"/>
                  <a:pt x="624" y="1245"/>
                  <a:pt x="624" y="1210"/>
                </a:cubicBezTo>
                <a:cubicBezTo>
                  <a:pt x="624" y="62"/>
                  <a:pt x="624" y="62"/>
                  <a:pt x="624" y="62"/>
                </a:cubicBezTo>
                <a:cubicBezTo>
                  <a:pt x="624" y="28"/>
                  <a:pt x="597" y="0"/>
                  <a:pt x="562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30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8" name="Freeform 7">
            <a:extLst>
              <a:ext uri="{FF2B5EF4-FFF2-40B4-BE49-F238E27FC236}">
                <a16:creationId xmlns:a16="http://schemas.microsoft.com/office/drawing/2014/main" id="{DC4C5B07-50E3-41D7-AE59-14BCDD6EF0B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auto">
          <a:xfrm>
            <a:off x="3726218" y="1063654"/>
            <a:ext cx="1605624" cy="3285253"/>
          </a:xfrm>
          <a:custGeom>
            <a:avLst/>
            <a:gdLst>
              <a:gd name="T0" fmla="*/ 562 w 624"/>
              <a:gd name="T1" fmla="*/ 0 h 1272"/>
              <a:gd name="T2" fmla="*/ 507 w 624"/>
              <a:gd name="T3" fmla="*/ 0 h 1272"/>
              <a:gd name="T4" fmla="*/ 477 w 624"/>
              <a:gd name="T5" fmla="*/ 20 h 1272"/>
              <a:gd name="T6" fmla="*/ 476 w 624"/>
              <a:gd name="T7" fmla="*/ 22 h 1272"/>
              <a:gd name="T8" fmla="*/ 447 w 624"/>
              <a:gd name="T9" fmla="*/ 42 h 1272"/>
              <a:gd name="T10" fmla="*/ 178 w 624"/>
              <a:gd name="T11" fmla="*/ 42 h 1272"/>
              <a:gd name="T12" fmla="*/ 148 w 624"/>
              <a:gd name="T13" fmla="*/ 22 h 1272"/>
              <a:gd name="T14" fmla="*/ 147 w 624"/>
              <a:gd name="T15" fmla="*/ 20 h 1272"/>
              <a:gd name="T16" fmla="*/ 118 w 624"/>
              <a:gd name="T17" fmla="*/ 0 h 1272"/>
              <a:gd name="T18" fmla="*/ 63 w 624"/>
              <a:gd name="T19" fmla="*/ 0 h 1272"/>
              <a:gd name="T20" fmla="*/ 17 w 624"/>
              <a:gd name="T21" fmla="*/ 20 h 1272"/>
              <a:gd name="T22" fmla="*/ 0 w 624"/>
              <a:gd name="T23" fmla="*/ 62 h 1272"/>
              <a:gd name="T24" fmla="*/ 0 w 624"/>
              <a:gd name="T25" fmla="*/ 1210 h 1272"/>
              <a:gd name="T26" fmla="*/ 18 w 624"/>
              <a:gd name="T27" fmla="*/ 1254 h 1272"/>
              <a:gd name="T28" fmla="*/ 62 w 624"/>
              <a:gd name="T29" fmla="*/ 1272 h 1272"/>
              <a:gd name="T30" fmla="*/ 562 w 624"/>
              <a:gd name="T31" fmla="*/ 1272 h 1272"/>
              <a:gd name="T32" fmla="*/ 624 w 624"/>
              <a:gd name="T33" fmla="*/ 1210 h 1272"/>
              <a:gd name="T34" fmla="*/ 624 w 624"/>
              <a:gd name="T35" fmla="*/ 62 h 1272"/>
              <a:gd name="T36" fmla="*/ 562 w 624"/>
              <a:gd name="T37" fmla="*/ 0 h 1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4" h="1272">
                <a:moveTo>
                  <a:pt x="562" y="0"/>
                </a:moveTo>
                <a:cubicBezTo>
                  <a:pt x="507" y="0"/>
                  <a:pt x="507" y="0"/>
                  <a:pt x="507" y="0"/>
                </a:cubicBezTo>
                <a:cubicBezTo>
                  <a:pt x="494" y="0"/>
                  <a:pt x="482" y="8"/>
                  <a:pt x="477" y="20"/>
                </a:cubicBezTo>
                <a:cubicBezTo>
                  <a:pt x="476" y="22"/>
                  <a:pt x="476" y="22"/>
                  <a:pt x="476" y="22"/>
                </a:cubicBezTo>
                <a:cubicBezTo>
                  <a:pt x="472" y="35"/>
                  <a:pt x="460" y="42"/>
                  <a:pt x="447" y="42"/>
                </a:cubicBezTo>
                <a:cubicBezTo>
                  <a:pt x="178" y="42"/>
                  <a:pt x="178" y="42"/>
                  <a:pt x="178" y="42"/>
                </a:cubicBezTo>
                <a:cubicBezTo>
                  <a:pt x="165" y="42"/>
                  <a:pt x="153" y="35"/>
                  <a:pt x="148" y="22"/>
                </a:cubicBezTo>
                <a:cubicBezTo>
                  <a:pt x="147" y="20"/>
                  <a:pt x="147" y="20"/>
                  <a:pt x="147" y="20"/>
                </a:cubicBezTo>
                <a:cubicBezTo>
                  <a:pt x="142" y="8"/>
                  <a:pt x="131" y="0"/>
                  <a:pt x="118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45" y="0"/>
                  <a:pt x="28" y="7"/>
                  <a:pt x="17" y="20"/>
                </a:cubicBezTo>
                <a:cubicBezTo>
                  <a:pt x="6" y="31"/>
                  <a:pt x="0" y="46"/>
                  <a:pt x="0" y="62"/>
                </a:cubicBezTo>
                <a:cubicBezTo>
                  <a:pt x="0" y="1210"/>
                  <a:pt x="0" y="1210"/>
                  <a:pt x="0" y="1210"/>
                </a:cubicBezTo>
                <a:cubicBezTo>
                  <a:pt x="0" y="1227"/>
                  <a:pt x="7" y="1243"/>
                  <a:pt x="18" y="1254"/>
                </a:cubicBezTo>
                <a:cubicBezTo>
                  <a:pt x="30" y="1266"/>
                  <a:pt x="46" y="1272"/>
                  <a:pt x="62" y="1272"/>
                </a:cubicBezTo>
                <a:cubicBezTo>
                  <a:pt x="562" y="1272"/>
                  <a:pt x="562" y="1272"/>
                  <a:pt x="562" y="1272"/>
                </a:cubicBezTo>
                <a:cubicBezTo>
                  <a:pt x="597" y="1272"/>
                  <a:pt x="624" y="1245"/>
                  <a:pt x="624" y="1210"/>
                </a:cubicBezTo>
                <a:cubicBezTo>
                  <a:pt x="624" y="62"/>
                  <a:pt x="624" y="62"/>
                  <a:pt x="624" y="62"/>
                </a:cubicBezTo>
                <a:cubicBezTo>
                  <a:pt x="624" y="28"/>
                  <a:pt x="597" y="0"/>
                  <a:pt x="562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30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grpSp>
        <p:nvGrpSpPr>
          <p:cNvPr id="69" name="Группа 184">
            <a:extLst>
              <a:ext uri="{FF2B5EF4-FFF2-40B4-BE49-F238E27FC236}">
                <a16:creationId xmlns:a16="http://schemas.microsoft.com/office/drawing/2014/main" id="{A73DAD4A-6F7E-42DB-992C-0E7C6EF4B200}"/>
              </a:ext>
            </a:extLst>
          </p:cNvPr>
          <p:cNvGrpSpPr/>
          <p:nvPr userDrawn="1"/>
        </p:nvGrpSpPr>
        <p:grpSpPr>
          <a:xfrm>
            <a:off x="5015699" y="465760"/>
            <a:ext cx="2287308" cy="4359594"/>
            <a:chOff x="-3543474" y="-4875029"/>
            <a:chExt cx="3414714" cy="6508770"/>
          </a:xfrm>
          <a:effectLst/>
        </p:grpSpPr>
        <p:sp>
          <p:nvSpPr>
            <p:cNvPr id="70" name="Freeform 5">
              <a:extLst>
                <a:ext uri="{FF2B5EF4-FFF2-40B4-BE49-F238E27FC236}">
                  <a16:creationId xmlns:a16="http://schemas.microsoft.com/office/drawing/2014/main" id="{7F870284-FBEB-4E85-8BDF-759246ED0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9" y="-4875029"/>
              <a:ext cx="3357564" cy="6508770"/>
            </a:xfrm>
            <a:custGeom>
              <a:avLst/>
              <a:gdLst>
                <a:gd name="T0" fmla="*/ 595 w 690"/>
                <a:gd name="T1" fmla="*/ 1338 h 1338"/>
                <a:gd name="T2" fmla="*/ 95 w 690"/>
                <a:gd name="T3" fmla="*/ 1338 h 1338"/>
                <a:gd name="T4" fmla="*/ 0 w 690"/>
                <a:gd name="T5" fmla="*/ 1243 h 1338"/>
                <a:gd name="T6" fmla="*/ 0 w 690"/>
                <a:gd name="T7" fmla="*/ 95 h 1338"/>
                <a:gd name="T8" fmla="*/ 95 w 690"/>
                <a:gd name="T9" fmla="*/ 0 h 1338"/>
                <a:gd name="T10" fmla="*/ 595 w 690"/>
                <a:gd name="T11" fmla="*/ 0 h 1338"/>
                <a:gd name="T12" fmla="*/ 690 w 690"/>
                <a:gd name="T13" fmla="*/ 95 h 1338"/>
                <a:gd name="T14" fmla="*/ 690 w 690"/>
                <a:gd name="T15" fmla="*/ 1243 h 1338"/>
                <a:gd name="T16" fmla="*/ 595 w 690"/>
                <a:gd name="T17" fmla="*/ 1338 h 1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338">
                  <a:moveTo>
                    <a:pt x="595" y="1338"/>
                  </a:moveTo>
                  <a:cubicBezTo>
                    <a:pt x="95" y="1338"/>
                    <a:pt x="95" y="1338"/>
                    <a:pt x="95" y="1338"/>
                  </a:cubicBezTo>
                  <a:cubicBezTo>
                    <a:pt x="43" y="1338"/>
                    <a:pt x="0" y="1296"/>
                    <a:pt x="0" y="1243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42"/>
                    <a:pt x="43" y="0"/>
                    <a:pt x="95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648" y="0"/>
                    <a:pt x="690" y="42"/>
                    <a:pt x="690" y="95"/>
                  </a:cubicBezTo>
                  <a:cubicBezTo>
                    <a:pt x="690" y="1243"/>
                    <a:pt x="690" y="1243"/>
                    <a:pt x="690" y="1243"/>
                  </a:cubicBezTo>
                  <a:cubicBezTo>
                    <a:pt x="690" y="1296"/>
                    <a:pt x="648" y="1338"/>
                    <a:pt x="595" y="133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" name="Freeform 6">
              <a:extLst>
                <a:ext uri="{FF2B5EF4-FFF2-40B4-BE49-F238E27FC236}">
                  <a16:creationId xmlns:a16="http://schemas.microsoft.com/office/drawing/2014/main" id="{BCB16AD3-7571-4CC0-94BE-8326A52A91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56161" y="-4816291"/>
              <a:ext cx="3240089" cy="6391295"/>
            </a:xfrm>
            <a:custGeom>
              <a:avLst/>
              <a:gdLst>
                <a:gd name="T0" fmla="*/ 583 w 666"/>
                <a:gd name="T1" fmla="*/ 1314 h 1314"/>
                <a:gd name="T2" fmla="*/ 83 w 666"/>
                <a:gd name="T3" fmla="*/ 1314 h 1314"/>
                <a:gd name="T4" fmla="*/ 0 w 666"/>
                <a:gd name="T5" fmla="*/ 1231 h 1314"/>
                <a:gd name="T6" fmla="*/ 0 w 666"/>
                <a:gd name="T7" fmla="*/ 83 h 1314"/>
                <a:gd name="T8" fmla="*/ 83 w 666"/>
                <a:gd name="T9" fmla="*/ 0 h 1314"/>
                <a:gd name="T10" fmla="*/ 583 w 666"/>
                <a:gd name="T11" fmla="*/ 0 h 1314"/>
                <a:gd name="T12" fmla="*/ 666 w 666"/>
                <a:gd name="T13" fmla="*/ 83 h 1314"/>
                <a:gd name="T14" fmla="*/ 666 w 666"/>
                <a:gd name="T15" fmla="*/ 1231 h 1314"/>
                <a:gd name="T16" fmla="*/ 583 w 666"/>
                <a:gd name="T17" fmla="*/ 1314 h 1314"/>
                <a:gd name="T18" fmla="*/ 83 w 666"/>
                <a:gd name="T19" fmla="*/ 2 h 1314"/>
                <a:gd name="T20" fmla="*/ 2 w 666"/>
                <a:gd name="T21" fmla="*/ 83 h 1314"/>
                <a:gd name="T22" fmla="*/ 2 w 666"/>
                <a:gd name="T23" fmla="*/ 1231 h 1314"/>
                <a:gd name="T24" fmla="*/ 83 w 666"/>
                <a:gd name="T25" fmla="*/ 1312 h 1314"/>
                <a:gd name="T26" fmla="*/ 583 w 666"/>
                <a:gd name="T27" fmla="*/ 1312 h 1314"/>
                <a:gd name="T28" fmla="*/ 664 w 666"/>
                <a:gd name="T29" fmla="*/ 1231 h 1314"/>
                <a:gd name="T30" fmla="*/ 664 w 666"/>
                <a:gd name="T31" fmla="*/ 83 h 1314"/>
                <a:gd name="T32" fmla="*/ 583 w 666"/>
                <a:gd name="T33" fmla="*/ 2 h 1314"/>
                <a:gd name="T34" fmla="*/ 83 w 666"/>
                <a:gd name="T35" fmla="*/ 2 h 1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6" h="1314">
                  <a:moveTo>
                    <a:pt x="583" y="1314"/>
                  </a:moveTo>
                  <a:cubicBezTo>
                    <a:pt x="83" y="1314"/>
                    <a:pt x="83" y="1314"/>
                    <a:pt x="83" y="1314"/>
                  </a:cubicBezTo>
                  <a:cubicBezTo>
                    <a:pt x="37" y="1314"/>
                    <a:pt x="0" y="1277"/>
                    <a:pt x="0" y="1231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583" y="0"/>
                    <a:pt x="583" y="0"/>
                    <a:pt x="583" y="0"/>
                  </a:cubicBezTo>
                  <a:cubicBezTo>
                    <a:pt x="629" y="0"/>
                    <a:pt x="666" y="37"/>
                    <a:pt x="666" y="83"/>
                  </a:cubicBezTo>
                  <a:cubicBezTo>
                    <a:pt x="666" y="1231"/>
                    <a:pt x="666" y="1231"/>
                    <a:pt x="666" y="1231"/>
                  </a:cubicBezTo>
                  <a:cubicBezTo>
                    <a:pt x="666" y="1277"/>
                    <a:pt x="629" y="1314"/>
                    <a:pt x="583" y="1314"/>
                  </a:cubicBezTo>
                  <a:close/>
                  <a:moveTo>
                    <a:pt x="83" y="2"/>
                  </a:moveTo>
                  <a:cubicBezTo>
                    <a:pt x="38" y="2"/>
                    <a:pt x="2" y="38"/>
                    <a:pt x="2" y="83"/>
                  </a:cubicBezTo>
                  <a:cubicBezTo>
                    <a:pt x="2" y="1231"/>
                    <a:pt x="2" y="1231"/>
                    <a:pt x="2" y="1231"/>
                  </a:cubicBezTo>
                  <a:cubicBezTo>
                    <a:pt x="2" y="1276"/>
                    <a:pt x="38" y="1312"/>
                    <a:pt x="83" y="1312"/>
                  </a:cubicBezTo>
                  <a:cubicBezTo>
                    <a:pt x="583" y="1312"/>
                    <a:pt x="583" y="1312"/>
                    <a:pt x="583" y="1312"/>
                  </a:cubicBezTo>
                  <a:cubicBezTo>
                    <a:pt x="628" y="1312"/>
                    <a:pt x="664" y="1276"/>
                    <a:pt x="664" y="1231"/>
                  </a:cubicBezTo>
                  <a:cubicBezTo>
                    <a:pt x="664" y="83"/>
                    <a:pt x="664" y="83"/>
                    <a:pt x="664" y="83"/>
                  </a:cubicBezTo>
                  <a:cubicBezTo>
                    <a:pt x="664" y="38"/>
                    <a:pt x="628" y="2"/>
                    <a:pt x="583" y="2"/>
                  </a:cubicBezTo>
                  <a:lnTo>
                    <a:pt x="83" y="2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F4D84CCC-C72C-4217-B1D7-DAA9C0610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6" y="-4679765"/>
              <a:ext cx="393700" cy="73025"/>
            </a:xfrm>
            <a:custGeom>
              <a:avLst/>
              <a:gdLst>
                <a:gd name="T0" fmla="*/ 74 w 81"/>
                <a:gd name="T1" fmla="*/ 0 h 15"/>
                <a:gd name="T2" fmla="*/ 7 w 81"/>
                <a:gd name="T3" fmla="*/ 0 h 15"/>
                <a:gd name="T4" fmla="*/ 0 w 81"/>
                <a:gd name="T5" fmla="*/ 7 h 15"/>
                <a:gd name="T6" fmla="*/ 7 w 81"/>
                <a:gd name="T7" fmla="*/ 15 h 15"/>
                <a:gd name="T8" fmla="*/ 74 w 81"/>
                <a:gd name="T9" fmla="*/ 15 h 15"/>
                <a:gd name="T10" fmla="*/ 81 w 81"/>
                <a:gd name="T11" fmla="*/ 7 h 15"/>
                <a:gd name="T12" fmla="*/ 74 w 81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">
                  <a:moveTo>
                    <a:pt x="7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5"/>
                    <a:pt x="7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8" y="15"/>
                    <a:pt x="81" y="11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lose/>
                </a:path>
              </a:pathLst>
            </a:cu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" name="Freeform 9">
              <a:extLst>
                <a:ext uri="{FF2B5EF4-FFF2-40B4-BE49-F238E27FC236}">
                  <a16:creationId xmlns:a16="http://schemas.microsoft.com/office/drawing/2014/main" id="{80BD5B8C-C2E5-4184-BC35-E8AF2262E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4" y="-3463737"/>
              <a:ext cx="28575" cy="388939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" name="Freeform 10">
              <a:extLst>
                <a:ext uri="{FF2B5EF4-FFF2-40B4-BE49-F238E27FC236}">
                  <a16:creationId xmlns:a16="http://schemas.microsoft.com/office/drawing/2014/main" id="{6B809883-9CA8-471C-A49B-40B177699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4" y="-3916176"/>
              <a:ext cx="28575" cy="209551"/>
            </a:xfrm>
            <a:custGeom>
              <a:avLst/>
              <a:gdLst>
                <a:gd name="T0" fmla="*/ 5 w 6"/>
                <a:gd name="T1" fmla="*/ 0 h 43"/>
                <a:gd name="T2" fmla="*/ 0 w 6"/>
                <a:gd name="T3" fmla="*/ 4 h 43"/>
                <a:gd name="T4" fmla="*/ 0 w 6"/>
                <a:gd name="T5" fmla="*/ 39 h 43"/>
                <a:gd name="T6" fmla="*/ 5 w 6"/>
                <a:gd name="T7" fmla="*/ 43 h 43"/>
                <a:gd name="T8" fmla="*/ 6 w 6"/>
                <a:gd name="T9" fmla="*/ 43 h 43"/>
                <a:gd name="T10" fmla="*/ 6 w 6"/>
                <a:gd name="T11" fmla="*/ 0 h 43"/>
                <a:gd name="T12" fmla="*/ 5 w 6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3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2" y="43"/>
                    <a:pt x="5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" name="Freeform 11">
              <a:extLst>
                <a:ext uri="{FF2B5EF4-FFF2-40B4-BE49-F238E27FC236}">
                  <a16:creationId xmlns:a16="http://schemas.microsoft.com/office/drawing/2014/main" id="{B04F2FC6-4CE3-44F4-9E51-B4B7EF957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4" y="-2943035"/>
              <a:ext cx="28575" cy="388939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" name="Freeform 12">
              <a:extLst>
                <a:ext uri="{FF2B5EF4-FFF2-40B4-BE49-F238E27FC236}">
                  <a16:creationId xmlns:a16="http://schemas.microsoft.com/office/drawing/2014/main" id="{B4652012-F362-424E-8E48-4C19CC8C3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9" y="1141615"/>
              <a:ext cx="3357564" cy="492126"/>
            </a:xfrm>
            <a:custGeom>
              <a:avLst/>
              <a:gdLst>
                <a:gd name="T0" fmla="*/ 595 w 690"/>
                <a:gd name="T1" fmla="*/ 95 h 101"/>
                <a:gd name="T2" fmla="*/ 95 w 690"/>
                <a:gd name="T3" fmla="*/ 95 h 101"/>
                <a:gd name="T4" fmla="*/ 0 w 690"/>
                <a:gd name="T5" fmla="*/ 0 h 101"/>
                <a:gd name="T6" fmla="*/ 0 w 690"/>
                <a:gd name="T7" fmla="*/ 6 h 101"/>
                <a:gd name="T8" fmla="*/ 95 w 690"/>
                <a:gd name="T9" fmla="*/ 101 h 101"/>
                <a:gd name="T10" fmla="*/ 595 w 690"/>
                <a:gd name="T11" fmla="*/ 101 h 101"/>
                <a:gd name="T12" fmla="*/ 690 w 690"/>
                <a:gd name="T13" fmla="*/ 6 h 101"/>
                <a:gd name="T14" fmla="*/ 690 w 690"/>
                <a:gd name="T15" fmla="*/ 0 h 101"/>
                <a:gd name="T16" fmla="*/ 595 w 690"/>
                <a:gd name="T17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595" y="95"/>
                  </a:moveTo>
                  <a:cubicBezTo>
                    <a:pt x="95" y="95"/>
                    <a:pt x="95" y="95"/>
                    <a:pt x="95" y="95"/>
                  </a:cubicBezTo>
                  <a:cubicBezTo>
                    <a:pt x="43" y="95"/>
                    <a:pt x="0" y="53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9"/>
                    <a:pt x="43" y="101"/>
                    <a:pt x="95" y="101"/>
                  </a:cubicBezTo>
                  <a:cubicBezTo>
                    <a:pt x="595" y="101"/>
                    <a:pt x="595" y="101"/>
                    <a:pt x="595" y="101"/>
                  </a:cubicBezTo>
                  <a:cubicBezTo>
                    <a:pt x="648" y="101"/>
                    <a:pt x="690" y="59"/>
                    <a:pt x="690" y="6"/>
                  </a:cubicBezTo>
                  <a:cubicBezTo>
                    <a:pt x="690" y="0"/>
                    <a:pt x="690" y="0"/>
                    <a:pt x="690" y="0"/>
                  </a:cubicBezTo>
                  <a:cubicBezTo>
                    <a:pt x="690" y="53"/>
                    <a:pt x="648" y="95"/>
                    <a:pt x="595" y="95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" name="Freeform 13">
              <a:extLst>
                <a:ext uri="{FF2B5EF4-FFF2-40B4-BE49-F238E27FC236}">
                  <a16:creationId xmlns:a16="http://schemas.microsoft.com/office/drawing/2014/main" id="{403F3DE0-7711-4553-A00C-DD299EF39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9" y="-4875029"/>
              <a:ext cx="3357564" cy="492126"/>
            </a:xfrm>
            <a:custGeom>
              <a:avLst/>
              <a:gdLst>
                <a:gd name="T0" fmla="*/ 95 w 690"/>
                <a:gd name="T1" fmla="*/ 6 h 101"/>
                <a:gd name="T2" fmla="*/ 595 w 690"/>
                <a:gd name="T3" fmla="*/ 6 h 101"/>
                <a:gd name="T4" fmla="*/ 690 w 690"/>
                <a:gd name="T5" fmla="*/ 101 h 101"/>
                <a:gd name="T6" fmla="*/ 690 w 690"/>
                <a:gd name="T7" fmla="*/ 95 h 101"/>
                <a:gd name="T8" fmla="*/ 595 w 690"/>
                <a:gd name="T9" fmla="*/ 0 h 101"/>
                <a:gd name="T10" fmla="*/ 95 w 690"/>
                <a:gd name="T11" fmla="*/ 0 h 101"/>
                <a:gd name="T12" fmla="*/ 0 w 690"/>
                <a:gd name="T13" fmla="*/ 95 h 101"/>
                <a:gd name="T14" fmla="*/ 0 w 690"/>
                <a:gd name="T15" fmla="*/ 101 h 101"/>
                <a:gd name="T16" fmla="*/ 95 w 690"/>
                <a:gd name="T17" fmla="*/ 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95" y="6"/>
                  </a:moveTo>
                  <a:cubicBezTo>
                    <a:pt x="595" y="6"/>
                    <a:pt x="595" y="6"/>
                    <a:pt x="595" y="6"/>
                  </a:cubicBezTo>
                  <a:cubicBezTo>
                    <a:pt x="648" y="6"/>
                    <a:pt x="690" y="49"/>
                    <a:pt x="690" y="101"/>
                  </a:cubicBezTo>
                  <a:cubicBezTo>
                    <a:pt x="690" y="95"/>
                    <a:pt x="690" y="95"/>
                    <a:pt x="690" y="95"/>
                  </a:cubicBezTo>
                  <a:cubicBezTo>
                    <a:pt x="690" y="42"/>
                    <a:pt x="648" y="0"/>
                    <a:pt x="5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3" y="0"/>
                    <a:pt x="0" y="42"/>
                    <a:pt x="0" y="9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49"/>
                    <a:pt x="43" y="6"/>
                    <a:pt x="95" y="6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" name="Freeform 14">
              <a:extLst>
                <a:ext uri="{FF2B5EF4-FFF2-40B4-BE49-F238E27FC236}">
                  <a16:creationId xmlns:a16="http://schemas.microsoft.com/office/drawing/2014/main" id="{DDCA2B92-D1F3-4677-B1B8-5BCE215127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6" y="-4679766"/>
              <a:ext cx="393700" cy="44450"/>
            </a:xfrm>
            <a:custGeom>
              <a:avLst/>
              <a:gdLst>
                <a:gd name="T0" fmla="*/ 7 w 81"/>
                <a:gd name="T1" fmla="*/ 4 h 9"/>
                <a:gd name="T2" fmla="*/ 74 w 81"/>
                <a:gd name="T3" fmla="*/ 4 h 9"/>
                <a:gd name="T4" fmla="*/ 81 w 81"/>
                <a:gd name="T5" fmla="*/ 9 h 9"/>
                <a:gd name="T6" fmla="*/ 81 w 81"/>
                <a:gd name="T7" fmla="*/ 7 h 9"/>
                <a:gd name="T8" fmla="*/ 74 w 81"/>
                <a:gd name="T9" fmla="*/ 0 h 9"/>
                <a:gd name="T10" fmla="*/ 7 w 81"/>
                <a:gd name="T11" fmla="*/ 0 h 9"/>
                <a:gd name="T12" fmla="*/ 0 w 81"/>
                <a:gd name="T13" fmla="*/ 7 h 9"/>
                <a:gd name="T14" fmla="*/ 0 w 81"/>
                <a:gd name="T15" fmla="*/ 9 h 9"/>
                <a:gd name="T16" fmla="*/ 7 w 81"/>
                <a:gd name="T17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9">
                  <a:moveTo>
                    <a:pt x="7" y="4"/>
                  </a:moveTo>
                  <a:cubicBezTo>
                    <a:pt x="74" y="4"/>
                    <a:pt x="74" y="4"/>
                    <a:pt x="74" y="4"/>
                  </a:cubicBezTo>
                  <a:cubicBezTo>
                    <a:pt x="77" y="4"/>
                    <a:pt x="80" y="6"/>
                    <a:pt x="81" y="9"/>
                  </a:cubicBezTo>
                  <a:cubicBezTo>
                    <a:pt x="81" y="9"/>
                    <a:pt x="81" y="8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1" y="6"/>
                    <a:pt x="4" y="4"/>
                    <a:pt x="7" y="4"/>
                  </a:cubicBezTo>
                  <a:close/>
                </a:path>
              </a:pathLst>
            </a:cu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" name="Oval 15">
              <a:extLst>
                <a:ext uri="{FF2B5EF4-FFF2-40B4-BE49-F238E27FC236}">
                  <a16:creationId xmlns:a16="http://schemas.microsoft.com/office/drawing/2014/main" id="{A5B87625-0852-4B02-8D66-B0F655B7BA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14735" y="-4694054"/>
              <a:ext cx="10160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" name="Oval 16">
              <a:extLst>
                <a:ext uri="{FF2B5EF4-FFF2-40B4-BE49-F238E27FC236}">
                  <a16:creationId xmlns:a16="http://schemas.microsoft.com/office/drawing/2014/main" id="{4A9A7993-26E0-4FED-B4B2-B94C5B9685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195686" y="-4675004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" name="Oval 17">
              <a:extLst>
                <a:ext uri="{FF2B5EF4-FFF2-40B4-BE49-F238E27FC236}">
                  <a16:creationId xmlns:a16="http://schemas.microsoft.com/office/drawing/2014/main" id="{68308D50-8F81-4022-8E5C-9BBC7BA308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83024" y="-4714691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" name="Oval 18">
              <a:extLst>
                <a:ext uri="{FF2B5EF4-FFF2-40B4-BE49-F238E27FC236}">
                  <a16:creationId xmlns:a16="http://schemas.microsoft.com/office/drawing/2014/main" id="{5FEAFC20-F747-4510-A4DF-8C55DC16A2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59210" y="-4694054"/>
              <a:ext cx="98425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" name="Oval 19">
              <a:extLst>
                <a:ext uri="{FF2B5EF4-FFF2-40B4-BE49-F238E27FC236}">
                  <a16:creationId xmlns:a16="http://schemas.microsoft.com/office/drawing/2014/main" id="{D4CAD4C0-F3BA-4A4A-9E73-C2FC543951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33810" y="-4670240"/>
              <a:ext cx="47625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" name="Oval 20">
              <a:extLst>
                <a:ext uri="{FF2B5EF4-FFF2-40B4-BE49-F238E27FC236}">
                  <a16:creationId xmlns:a16="http://schemas.microsoft.com/office/drawing/2014/main" id="{BBD7D811-6A31-49FF-ACE0-05D34BECAC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59099" y="-4694054"/>
              <a:ext cx="10795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" name="Oval 21">
              <a:extLst>
                <a:ext uri="{FF2B5EF4-FFF2-40B4-BE49-F238E27FC236}">
                  <a16:creationId xmlns:a16="http://schemas.microsoft.com/office/drawing/2014/main" id="{2C50A87F-800C-48D1-83FC-33A049CBD0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35285" y="-4675004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" name="Oval 22">
              <a:extLst>
                <a:ext uri="{FF2B5EF4-FFF2-40B4-BE49-F238E27FC236}">
                  <a16:creationId xmlns:a16="http://schemas.microsoft.com/office/drawing/2014/main" id="{177681EF-E995-4F5A-ADE6-1E0D4A5916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30498" y="-4714691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" name="Oval 23">
              <a:extLst>
                <a:ext uri="{FF2B5EF4-FFF2-40B4-BE49-F238E27FC236}">
                  <a16:creationId xmlns:a16="http://schemas.microsoft.com/office/drawing/2014/main" id="{FBAA2201-7D2A-42B3-8D79-7F9D81E1E8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11448" y="-4694054"/>
              <a:ext cx="103188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" name="Oval 24">
              <a:extLst>
                <a:ext uri="{FF2B5EF4-FFF2-40B4-BE49-F238E27FC236}">
                  <a16:creationId xmlns:a16="http://schemas.microsoft.com/office/drawing/2014/main" id="{2F111A11-F006-407D-9223-0DC37AE096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86048" y="-4670241"/>
              <a:ext cx="52388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" name="Freeform 25">
              <a:extLst>
                <a:ext uri="{FF2B5EF4-FFF2-40B4-BE49-F238E27FC236}">
                  <a16:creationId xmlns:a16="http://schemas.microsoft.com/office/drawing/2014/main" id="{9322A272-C0A9-4E1A-A267-771FFF0D9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4" y="-3916177"/>
              <a:ext cx="9525" cy="209551"/>
            </a:xfrm>
            <a:custGeom>
              <a:avLst/>
              <a:gdLst>
                <a:gd name="T0" fmla="*/ 0 w 2"/>
                <a:gd name="T1" fmla="*/ 0 h 43"/>
                <a:gd name="T2" fmla="*/ 0 w 2"/>
                <a:gd name="T3" fmla="*/ 43 h 43"/>
                <a:gd name="T4" fmla="*/ 1 w 2"/>
                <a:gd name="T5" fmla="*/ 43 h 43"/>
                <a:gd name="T6" fmla="*/ 2 w 2"/>
                <a:gd name="T7" fmla="*/ 43 h 43"/>
                <a:gd name="T8" fmla="*/ 2 w 2"/>
                <a:gd name="T9" fmla="*/ 0 h 43"/>
                <a:gd name="T10" fmla="*/ 1 w 2"/>
                <a:gd name="T11" fmla="*/ 0 h 43"/>
                <a:gd name="T12" fmla="*/ 0 w 2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3">
                  <a:moveTo>
                    <a:pt x="0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1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" name="Freeform 26">
              <a:extLst>
                <a:ext uri="{FF2B5EF4-FFF2-40B4-BE49-F238E27FC236}">
                  <a16:creationId xmlns:a16="http://schemas.microsoft.com/office/drawing/2014/main" id="{155B25F2-F34A-4CA9-9999-187805469EE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4" y="-3463737"/>
              <a:ext cx="9525" cy="388939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1" name="Freeform 27">
              <a:extLst>
                <a:ext uri="{FF2B5EF4-FFF2-40B4-BE49-F238E27FC236}">
                  <a16:creationId xmlns:a16="http://schemas.microsoft.com/office/drawing/2014/main" id="{7E0F33CB-A556-417E-818F-E850CB4B0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4" y="-2943035"/>
              <a:ext cx="9525" cy="388939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" name="Freeform 28">
              <a:extLst>
                <a:ext uri="{FF2B5EF4-FFF2-40B4-BE49-F238E27FC236}">
                  <a16:creationId xmlns:a16="http://schemas.microsoft.com/office/drawing/2014/main" id="{B4AD8304-FF25-4C01-A29C-62B44B285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86"/>
              <a:ext cx="28575" cy="787402"/>
            </a:xfrm>
            <a:custGeom>
              <a:avLst/>
              <a:gdLst>
                <a:gd name="T0" fmla="*/ 6 w 6"/>
                <a:gd name="T1" fmla="*/ 158 h 162"/>
                <a:gd name="T2" fmla="*/ 6 w 6"/>
                <a:gd name="T3" fmla="*/ 4 h 162"/>
                <a:gd name="T4" fmla="*/ 2 w 6"/>
                <a:gd name="T5" fmla="*/ 0 h 162"/>
                <a:gd name="T6" fmla="*/ 0 w 6"/>
                <a:gd name="T7" fmla="*/ 0 h 162"/>
                <a:gd name="T8" fmla="*/ 0 w 6"/>
                <a:gd name="T9" fmla="*/ 162 h 162"/>
                <a:gd name="T10" fmla="*/ 2 w 6"/>
                <a:gd name="T11" fmla="*/ 162 h 162"/>
                <a:gd name="T12" fmla="*/ 6 w 6"/>
                <a:gd name="T13" fmla="*/ 15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62">
                  <a:moveTo>
                    <a:pt x="6" y="158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4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2"/>
                    <a:pt x="6" y="160"/>
                    <a:pt x="6" y="158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" name="Freeform 29">
              <a:extLst>
                <a:ext uri="{FF2B5EF4-FFF2-40B4-BE49-F238E27FC236}">
                  <a16:creationId xmlns:a16="http://schemas.microsoft.com/office/drawing/2014/main" id="{5B82E5E9-3946-4EFF-8DE7-DE46097A0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86"/>
              <a:ext cx="9525" cy="787402"/>
            </a:xfrm>
            <a:custGeom>
              <a:avLst/>
              <a:gdLst>
                <a:gd name="T0" fmla="*/ 2 w 2"/>
                <a:gd name="T1" fmla="*/ 162 h 162"/>
                <a:gd name="T2" fmla="*/ 2 w 2"/>
                <a:gd name="T3" fmla="*/ 0 h 162"/>
                <a:gd name="T4" fmla="*/ 2 w 2"/>
                <a:gd name="T5" fmla="*/ 0 h 162"/>
                <a:gd name="T6" fmla="*/ 0 w 2"/>
                <a:gd name="T7" fmla="*/ 0 h 162"/>
                <a:gd name="T8" fmla="*/ 0 w 2"/>
                <a:gd name="T9" fmla="*/ 162 h 162"/>
                <a:gd name="T10" fmla="*/ 2 w 2"/>
                <a:gd name="T11" fmla="*/ 162 h 162"/>
                <a:gd name="T12" fmla="*/ 2 w 2"/>
                <a:gd name="T13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62">
                  <a:moveTo>
                    <a:pt x="2" y="162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2" y="162"/>
                    <a:pt x="2" y="162"/>
                    <a:pt x="2" y="162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" name="Rectangle 30">
              <a:extLst>
                <a:ext uri="{FF2B5EF4-FFF2-40B4-BE49-F238E27FC236}">
                  <a16:creationId xmlns:a16="http://schemas.microsoft.com/office/drawing/2014/main" id="{1BD3D1AB-5491-4EF6-947D-564E47F342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766964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" name="Rectangle 31">
              <a:extLst>
                <a:ext uri="{FF2B5EF4-FFF2-40B4-BE49-F238E27FC236}">
                  <a16:creationId xmlns:a16="http://schemas.microsoft.com/office/drawing/2014/main" id="{F5E3270B-6F6B-45B0-86EC-29E7A71255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9" y="766963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" name="Rectangle 32">
              <a:extLst>
                <a:ext uri="{FF2B5EF4-FFF2-40B4-BE49-F238E27FC236}">
                  <a16:creationId xmlns:a16="http://schemas.microsoft.com/office/drawing/2014/main" id="{BA362EFC-D4BE-45D1-95C0-2DBD5202A2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-4125716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" name="Rectangle 33">
              <a:extLst>
                <a:ext uri="{FF2B5EF4-FFF2-40B4-BE49-F238E27FC236}">
                  <a16:creationId xmlns:a16="http://schemas.microsoft.com/office/drawing/2014/main" id="{917968E5-62E8-478F-9A3C-FAC2FDA2EE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98" name="Freeform 7">
            <a:extLst>
              <a:ext uri="{FF2B5EF4-FFF2-40B4-BE49-F238E27FC236}">
                <a16:creationId xmlns:a16="http://schemas.microsoft.com/office/drawing/2014/main" id="{4C7F7092-F2F5-49BD-9BF3-233E4A80C85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 bwMode="auto">
          <a:xfrm>
            <a:off x="5146367" y="573759"/>
            <a:ext cx="2025972" cy="4145321"/>
          </a:xfrm>
          <a:custGeom>
            <a:avLst/>
            <a:gdLst>
              <a:gd name="T0" fmla="*/ 562 w 624"/>
              <a:gd name="T1" fmla="*/ 0 h 1272"/>
              <a:gd name="T2" fmla="*/ 507 w 624"/>
              <a:gd name="T3" fmla="*/ 0 h 1272"/>
              <a:gd name="T4" fmla="*/ 477 w 624"/>
              <a:gd name="T5" fmla="*/ 20 h 1272"/>
              <a:gd name="T6" fmla="*/ 476 w 624"/>
              <a:gd name="T7" fmla="*/ 22 h 1272"/>
              <a:gd name="T8" fmla="*/ 447 w 624"/>
              <a:gd name="T9" fmla="*/ 42 h 1272"/>
              <a:gd name="T10" fmla="*/ 178 w 624"/>
              <a:gd name="T11" fmla="*/ 42 h 1272"/>
              <a:gd name="T12" fmla="*/ 148 w 624"/>
              <a:gd name="T13" fmla="*/ 22 h 1272"/>
              <a:gd name="T14" fmla="*/ 147 w 624"/>
              <a:gd name="T15" fmla="*/ 20 h 1272"/>
              <a:gd name="T16" fmla="*/ 118 w 624"/>
              <a:gd name="T17" fmla="*/ 0 h 1272"/>
              <a:gd name="T18" fmla="*/ 63 w 624"/>
              <a:gd name="T19" fmla="*/ 0 h 1272"/>
              <a:gd name="T20" fmla="*/ 17 w 624"/>
              <a:gd name="T21" fmla="*/ 20 h 1272"/>
              <a:gd name="T22" fmla="*/ 0 w 624"/>
              <a:gd name="T23" fmla="*/ 62 h 1272"/>
              <a:gd name="T24" fmla="*/ 0 w 624"/>
              <a:gd name="T25" fmla="*/ 1210 h 1272"/>
              <a:gd name="T26" fmla="*/ 18 w 624"/>
              <a:gd name="T27" fmla="*/ 1254 h 1272"/>
              <a:gd name="T28" fmla="*/ 62 w 624"/>
              <a:gd name="T29" fmla="*/ 1272 h 1272"/>
              <a:gd name="T30" fmla="*/ 562 w 624"/>
              <a:gd name="T31" fmla="*/ 1272 h 1272"/>
              <a:gd name="T32" fmla="*/ 624 w 624"/>
              <a:gd name="T33" fmla="*/ 1210 h 1272"/>
              <a:gd name="T34" fmla="*/ 624 w 624"/>
              <a:gd name="T35" fmla="*/ 62 h 1272"/>
              <a:gd name="T36" fmla="*/ 562 w 624"/>
              <a:gd name="T37" fmla="*/ 0 h 1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4" h="1272">
                <a:moveTo>
                  <a:pt x="562" y="0"/>
                </a:moveTo>
                <a:cubicBezTo>
                  <a:pt x="507" y="0"/>
                  <a:pt x="507" y="0"/>
                  <a:pt x="507" y="0"/>
                </a:cubicBezTo>
                <a:cubicBezTo>
                  <a:pt x="494" y="0"/>
                  <a:pt x="482" y="8"/>
                  <a:pt x="477" y="20"/>
                </a:cubicBezTo>
                <a:cubicBezTo>
                  <a:pt x="476" y="22"/>
                  <a:pt x="476" y="22"/>
                  <a:pt x="476" y="22"/>
                </a:cubicBezTo>
                <a:cubicBezTo>
                  <a:pt x="472" y="35"/>
                  <a:pt x="460" y="42"/>
                  <a:pt x="447" y="42"/>
                </a:cubicBezTo>
                <a:cubicBezTo>
                  <a:pt x="178" y="42"/>
                  <a:pt x="178" y="42"/>
                  <a:pt x="178" y="42"/>
                </a:cubicBezTo>
                <a:cubicBezTo>
                  <a:pt x="165" y="42"/>
                  <a:pt x="153" y="35"/>
                  <a:pt x="148" y="22"/>
                </a:cubicBezTo>
                <a:cubicBezTo>
                  <a:pt x="147" y="20"/>
                  <a:pt x="147" y="20"/>
                  <a:pt x="147" y="20"/>
                </a:cubicBezTo>
                <a:cubicBezTo>
                  <a:pt x="142" y="8"/>
                  <a:pt x="131" y="0"/>
                  <a:pt x="118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45" y="0"/>
                  <a:pt x="28" y="7"/>
                  <a:pt x="17" y="20"/>
                </a:cubicBezTo>
                <a:cubicBezTo>
                  <a:pt x="6" y="31"/>
                  <a:pt x="0" y="46"/>
                  <a:pt x="0" y="62"/>
                </a:cubicBezTo>
                <a:cubicBezTo>
                  <a:pt x="0" y="1210"/>
                  <a:pt x="0" y="1210"/>
                  <a:pt x="0" y="1210"/>
                </a:cubicBezTo>
                <a:cubicBezTo>
                  <a:pt x="0" y="1227"/>
                  <a:pt x="7" y="1243"/>
                  <a:pt x="18" y="1254"/>
                </a:cubicBezTo>
                <a:cubicBezTo>
                  <a:pt x="30" y="1266"/>
                  <a:pt x="46" y="1272"/>
                  <a:pt x="62" y="1272"/>
                </a:cubicBezTo>
                <a:cubicBezTo>
                  <a:pt x="562" y="1272"/>
                  <a:pt x="562" y="1272"/>
                  <a:pt x="562" y="1272"/>
                </a:cubicBezTo>
                <a:cubicBezTo>
                  <a:pt x="597" y="1272"/>
                  <a:pt x="624" y="1245"/>
                  <a:pt x="624" y="1210"/>
                </a:cubicBezTo>
                <a:cubicBezTo>
                  <a:pt x="624" y="62"/>
                  <a:pt x="624" y="62"/>
                  <a:pt x="624" y="62"/>
                </a:cubicBezTo>
                <a:cubicBezTo>
                  <a:pt x="624" y="28"/>
                  <a:pt x="597" y="0"/>
                  <a:pt x="562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30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383309"/>
            <a:ext cx="3132340" cy="360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90527" y="1374774"/>
            <a:ext cx="3131469" cy="297413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697399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21">
            <a:extLst>
              <a:ext uri="{FF2B5EF4-FFF2-40B4-BE49-F238E27FC236}">
                <a16:creationId xmlns:a16="http://schemas.microsoft.com/office/drawing/2014/main" id="{B3DE99BA-2555-4ED3-A990-CFEFFA9A7B77}"/>
              </a:ext>
            </a:extLst>
          </p:cNvPr>
          <p:cNvSpPr/>
          <p:nvPr userDrawn="1"/>
        </p:nvSpPr>
        <p:spPr>
          <a:xfrm>
            <a:off x="0" y="1270546"/>
            <a:ext cx="9144000" cy="340719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81" tIns="17140" rIns="34281" bIns="17140" rtlCol="0" anchor="ctr"/>
          <a:lstStyle/>
          <a:p>
            <a:pPr algn="ctr"/>
            <a:endParaRPr lang="ru-RU"/>
          </a:p>
        </p:txBody>
      </p:sp>
      <p:grpSp>
        <p:nvGrpSpPr>
          <p:cNvPr id="9" name="Группа 126">
            <a:extLst>
              <a:ext uri="{FF2B5EF4-FFF2-40B4-BE49-F238E27FC236}">
                <a16:creationId xmlns:a16="http://schemas.microsoft.com/office/drawing/2014/main" id="{A048296C-7F5D-463E-AC7F-FD26BAB620A2}"/>
              </a:ext>
            </a:extLst>
          </p:cNvPr>
          <p:cNvGrpSpPr/>
          <p:nvPr userDrawn="1"/>
        </p:nvGrpSpPr>
        <p:grpSpPr>
          <a:xfrm>
            <a:off x="6867105" y="978758"/>
            <a:ext cx="1812965" cy="3455499"/>
            <a:chOff x="-3543473" y="-4875014"/>
            <a:chExt cx="3414713" cy="6508750"/>
          </a:xfrm>
          <a:effectLst/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053ECADC-E730-4638-8117-B5EFBC6C8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6508750"/>
            </a:xfrm>
            <a:custGeom>
              <a:avLst/>
              <a:gdLst>
                <a:gd name="T0" fmla="*/ 595 w 690"/>
                <a:gd name="T1" fmla="*/ 1338 h 1338"/>
                <a:gd name="T2" fmla="*/ 95 w 690"/>
                <a:gd name="T3" fmla="*/ 1338 h 1338"/>
                <a:gd name="T4" fmla="*/ 0 w 690"/>
                <a:gd name="T5" fmla="*/ 1243 h 1338"/>
                <a:gd name="T6" fmla="*/ 0 w 690"/>
                <a:gd name="T7" fmla="*/ 95 h 1338"/>
                <a:gd name="T8" fmla="*/ 95 w 690"/>
                <a:gd name="T9" fmla="*/ 0 h 1338"/>
                <a:gd name="T10" fmla="*/ 595 w 690"/>
                <a:gd name="T11" fmla="*/ 0 h 1338"/>
                <a:gd name="T12" fmla="*/ 690 w 690"/>
                <a:gd name="T13" fmla="*/ 95 h 1338"/>
                <a:gd name="T14" fmla="*/ 690 w 690"/>
                <a:gd name="T15" fmla="*/ 1243 h 1338"/>
                <a:gd name="T16" fmla="*/ 595 w 690"/>
                <a:gd name="T17" fmla="*/ 1338 h 1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338">
                  <a:moveTo>
                    <a:pt x="595" y="1338"/>
                  </a:moveTo>
                  <a:cubicBezTo>
                    <a:pt x="95" y="1338"/>
                    <a:pt x="95" y="1338"/>
                    <a:pt x="95" y="1338"/>
                  </a:cubicBezTo>
                  <a:cubicBezTo>
                    <a:pt x="43" y="1338"/>
                    <a:pt x="0" y="1296"/>
                    <a:pt x="0" y="1243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42"/>
                    <a:pt x="43" y="0"/>
                    <a:pt x="95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648" y="0"/>
                    <a:pt x="690" y="42"/>
                    <a:pt x="690" y="95"/>
                  </a:cubicBezTo>
                  <a:cubicBezTo>
                    <a:pt x="690" y="1243"/>
                    <a:pt x="690" y="1243"/>
                    <a:pt x="690" y="1243"/>
                  </a:cubicBezTo>
                  <a:cubicBezTo>
                    <a:pt x="690" y="1296"/>
                    <a:pt x="648" y="1338"/>
                    <a:pt x="595" y="133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F92AA342-FDBF-4773-A864-2EC8A1B901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56160" y="-4816276"/>
              <a:ext cx="3240088" cy="6391275"/>
            </a:xfrm>
            <a:custGeom>
              <a:avLst/>
              <a:gdLst>
                <a:gd name="T0" fmla="*/ 583 w 666"/>
                <a:gd name="T1" fmla="*/ 1314 h 1314"/>
                <a:gd name="T2" fmla="*/ 83 w 666"/>
                <a:gd name="T3" fmla="*/ 1314 h 1314"/>
                <a:gd name="T4" fmla="*/ 0 w 666"/>
                <a:gd name="T5" fmla="*/ 1231 h 1314"/>
                <a:gd name="T6" fmla="*/ 0 w 666"/>
                <a:gd name="T7" fmla="*/ 83 h 1314"/>
                <a:gd name="T8" fmla="*/ 83 w 666"/>
                <a:gd name="T9" fmla="*/ 0 h 1314"/>
                <a:gd name="T10" fmla="*/ 583 w 666"/>
                <a:gd name="T11" fmla="*/ 0 h 1314"/>
                <a:gd name="T12" fmla="*/ 666 w 666"/>
                <a:gd name="T13" fmla="*/ 83 h 1314"/>
                <a:gd name="T14" fmla="*/ 666 w 666"/>
                <a:gd name="T15" fmla="*/ 1231 h 1314"/>
                <a:gd name="T16" fmla="*/ 583 w 666"/>
                <a:gd name="T17" fmla="*/ 1314 h 1314"/>
                <a:gd name="T18" fmla="*/ 83 w 666"/>
                <a:gd name="T19" fmla="*/ 2 h 1314"/>
                <a:gd name="T20" fmla="*/ 2 w 666"/>
                <a:gd name="T21" fmla="*/ 83 h 1314"/>
                <a:gd name="T22" fmla="*/ 2 w 666"/>
                <a:gd name="T23" fmla="*/ 1231 h 1314"/>
                <a:gd name="T24" fmla="*/ 83 w 666"/>
                <a:gd name="T25" fmla="*/ 1312 h 1314"/>
                <a:gd name="T26" fmla="*/ 583 w 666"/>
                <a:gd name="T27" fmla="*/ 1312 h 1314"/>
                <a:gd name="T28" fmla="*/ 664 w 666"/>
                <a:gd name="T29" fmla="*/ 1231 h 1314"/>
                <a:gd name="T30" fmla="*/ 664 w 666"/>
                <a:gd name="T31" fmla="*/ 83 h 1314"/>
                <a:gd name="T32" fmla="*/ 583 w 666"/>
                <a:gd name="T33" fmla="*/ 2 h 1314"/>
                <a:gd name="T34" fmla="*/ 83 w 666"/>
                <a:gd name="T35" fmla="*/ 2 h 1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6" h="1314">
                  <a:moveTo>
                    <a:pt x="583" y="1314"/>
                  </a:moveTo>
                  <a:cubicBezTo>
                    <a:pt x="83" y="1314"/>
                    <a:pt x="83" y="1314"/>
                    <a:pt x="83" y="1314"/>
                  </a:cubicBezTo>
                  <a:cubicBezTo>
                    <a:pt x="37" y="1314"/>
                    <a:pt x="0" y="1277"/>
                    <a:pt x="0" y="1231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583" y="0"/>
                    <a:pt x="583" y="0"/>
                    <a:pt x="583" y="0"/>
                  </a:cubicBezTo>
                  <a:cubicBezTo>
                    <a:pt x="629" y="0"/>
                    <a:pt x="666" y="37"/>
                    <a:pt x="666" y="83"/>
                  </a:cubicBezTo>
                  <a:cubicBezTo>
                    <a:pt x="666" y="1231"/>
                    <a:pt x="666" y="1231"/>
                    <a:pt x="666" y="1231"/>
                  </a:cubicBezTo>
                  <a:cubicBezTo>
                    <a:pt x="666" y="1277"/>
                    <a:pt x="629" y="1314"/>
                    <a:pt x="583" y="1314"/>
                  </a:cubicBezTo>
                  <a:close/>
                  <a:moveTo>
                    <a:pt x="83" y="2"/>
                  </a:moveTo>
                  <a:cubicBezTo>
                    <a:pt x="38" y="2"/>
                    <a:pt x="2" y="38"/>
                    <a:pt x="2" y="83"/>
                  </a:cubicBezTo>
                  <a:cubicBezTo>
                    <a:pt x="2" y="1231"/>
                    <a:pt x="2" y="1231"/>
                    <a:pt x="2" y="1231"/>
                  </a:cubicBezTo>
                  <a:cubicBezTo>
                    <a:pt x="2" y="1276"/>
                    <a:pt x="38" y="1312"/>
                    <a:pt x="83" y="1312"/>
                  </a:cubicBezTo>
                  <a:cubicBezTo>
                    <a:pt x="583" y="1312"/>
                    <a:pt x="583" y="1312"/>
                    <a:pt x="583" y="1312"/>
                  </a:cubicBezTo>
                  <a:cubicBezTo>
                    <a:pt x="628" y="1312"/>
                    <a:pt x="664" y="1276"/>
                    <a:pt x="664" y="1231"/>
                  </a:cubicBezTo>
                  <a:cubicBezTo>
                    <a:pt x="664" y="83"/>
                    <a:pt x="664" y="83"/>
                    <a:pt x="664" y="83"/>
                  </a:cubicBezTo>
                  <a:cubicBezTo>
                    <a:pt x="664" y="38"/>
                    <a:pt x="628" y="2"/>
                    <a:pt x="583" y="2"/>
                  </a:cubicBezTo>
                  <a:lnTo>
                    <a:pt x="83" y="2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6DDA3C1A-D117-49A7-B2F5-0BC15C493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73025"/>
            </a:xfrm>
            <a:custGeom>
              <a:avLst/>
              <a:gdLst>
                <a:gd name="T0" fmla="*/ 74 w 81"/>
                <a:gd name="T1" fmla="*/ 0 h 15"/>
                <a:gd name="T2" fmla="*/ 7 w 81"/>
                <a:gd name="T3" fmla="*/ 0 h 15"/>
                <a:gd name="T4" fmla="*/ 0 w 81"/>
                <a:gd name="T5" fmla="*/ 7 h 15"/>
                <a:gd name="T6" fmla="*/ 7 w 81"/>
                <a:gd name="T7" fmla="*/ 15 h 15"/>
                <a:gd name="T8" fmla="*/ 74 w 81"/>
                <a:gd name="T9" fmla="*/ 15 h 15"/>
                <a:gd name="T10" fmla="*/ 81 w 81"/>
                <a:gd name="T11" fmla="*/ 7 h 15"/>
                <a:gd name="T12" fmla="*/ 74 w 81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">
                  <a:moveTo>
                    <a:pt x="7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5"/>
                    <a:pt x="7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8" y="15"/>
                    <a:pt x="81" y="11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lose/>
                </a:path>
              </a:pathLst>
            </a:cu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C663BA41-6490-4346-8CDE-D7E0BB188AA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4637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FD3A51B2-5FC5-4E66-8288-B90CA91659D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916164"/>
              <a:ext cx="28575" cy="209550"/>
            </a:xfrm>
            <a:custGeom>
              <a:avLst/>
              <a:gdLst>
                <a:gd name="T0" fmla="*/ 5 w 6"/>
                <a:gd name="T1" fmla="*/ 0 h 43"/>
                <a:gd name="T2" fmla="*/ 0 w 6"/>
                <a:gd name="T3" fmla="*/ 4 h 43"/>
                <a:gd name="T4" fmla="*/ 0 w 6"/>
                <a:gd name="T5" fmla="*/ 39 h 43"/>
                <a:gd name="T6" fmla="*/ 5 w 6"/>
                <a:gd name="T7" fmla="*/ 43 h 43"/>
                <a:gd name="T8" fmla="*/ 6 w 6"/>
                <a:gd name="T9" fmla="*/ 43 h 43"/>
                <a:gd name="T10" fmla="*/ 6 w 6"/>
                <a:gd name="T11" fmla="*/ 0 h 43"/>
                <a:gd name="T12" fmla="*/ 5 w 6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3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2" y="43"/>
                    <a:pt x="5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927A508E-A941-47D2-96B3-C7917E9C8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29430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27850805-43AE-46F3-BE9D-728C911AA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1141611"/>
              <a:ext cx="3357563" cy="492125"/>
            </a:xfrm>
            <a:custGeom>
              <a:avLst/>
              <a:gdLst>
                <a:gd name="T0" fmla="*/ 595 w 690"/>
                <a:gd name="T1" fmla="*/ 95 h 101"/>
                <a:gd name="T2" fmla="*/ 95 w 690"/>
                <a:gd name="T3" fmla="*/ 95 h 101"/>
                <a:gd name="T4" fmla="*/ 0 w 690"/>
                <a:gd name="T5" fmla="*/ 0 h 101"/>
                <a:gd name="T6" fmla="*/ 0 w 690"/>
                <a:gd name="T7" fmla="*/ 6 h 101"/>
                <a:gd name="T8" fmla="*/ 95 w 690"/>
                <a:gd name="T9" fmla="*/ 101 h 101"/>
                <a:gd name="T10" fmla="*/ 595 w 690"/>
                <a:gd name="T11" fmla="*/ 101 h 101"/>
                <a:gd name="T12" fmla="*/ 690 w 690"/>
                <a:gd name="T13" fmla="*/ 6 h 101"/>
                <a:gd name="T14" fmla="*/ 690 w 690"/>
                <a:gd name="T15" fmla="*/ 0 h 101"/>
                <a:gd name="T16" fmla="*/ 595 w 690"/>
                <a:gd name="T17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595" y="95"/>
                  </a:moveTo>
                  <a:cubicBezTo>
                    <a:pt x="95" y="95"/>
                    <a:pt x="95" y="95"/>
                    <a:pt x="95" y="95"/>
                  </a:cubicBezTo>
                  <a:cubicBezTo>
                    <a:pt x="43" y="95"/>
                    <a:pt x="0" y="53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9"/>
                    <a:pt x="43" y="101"/>
                    <a:pt x="95" y="101"/>
                  </a:cubicBezTo>
                  <a:cubicBezTo>
                    <a:pt x="595" y="101"/>
                    <a:pt x="595" y="101"/>
                    <a:pt x="595" y="101"/>
                  </a:cubicBezTo>
                  <a:cubicBezTo>
                    <a:pt x="648" y="101"/>
                    <a:pt x="690" y="59"/>
                    <a:pt x="690" y="6"/>
                  </a:cubicBezTo>
                  <a:cubicBezTo>
                    <a:pt x="690" y="0"/>
                    <a:pt x="690" y="0"/>
                    <a:pt x="690" y="0"/>
                  </a:cubicBezTo>
                  <a:cubicBezTo>
                    <a:pt x="690" y="53"/>
                    <a:pt x="648" y="95"/>
                    <a:pt x="595" y="95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6D1DA30A-F040-4511-BEDD-E9F6982D9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492125"/>
            </a:xfrm>
            <a:custGeom>
              <a:avLst/>
              <a:gdLst>
                <a:gd name="T0" fmla="*/ 95 w 690"/>
                <a:gd name="T1" fmla="*/ 6 h 101"/>
                <a:gd name="T2" fmla="*/ 595 w 690"/>
                <a:gd name="T3" fmla="*/ 6 h 101"/>
                <a:gd name="T4" fmla="*/ 690 w 690"/>
                <a:gd name="T5" fmla="*/ 101 h 101"/>
                <a:gd name="T6" fmla="*/ 690 w 690"/>
                <a:gd name="T7" fmla="*/ 95 h 101"/>
                <a:gd name="T8" fmla="*/ 595 w 690"/>
                <a:gd name="T9" fmla="*/ 0 h 101"/>
                <a:gd name="T10" fmla="*/ 95 w 690"/>
                <a:gd name="T11" fmla="*/ 0 h 101"/>
                <a:gd name="T12" fmla="*/ 0 w 690"/>
                <a:gd name="T13" fmla="*/ 95 h 101"/>
                <a:gd name="T14" fmla="*/ 0 w 690"/>
                <a:gd name="T15" fmla="*/ 101 h 101"/>
                <a:gd name="T16" fmla="*/ 95 w 690"/>
                <a:gd name="T17" fmla="*/ 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95" y="6"/>
                  </a:moveTo>
                  <a:cubicBezTo>
                    <a:pt x="595" y="6"/>
                    <a:pt x="595" y="6"/>
                    <a:pt x="595" y="6"/>
                  </a:cubicBezTo>
                  <a:cubicBezTo>
                    <a:pt x="648" y="6"/>
                    <a:pt x="690" y="49"/>
                    <a:pt x="690" y="101"/>
                  </a:cubicBezTo>
                  <a:cubicBezTo>
                    <a:pt x="690" y="95"/>
                    <a:pt x="690" y="95"/>
                    <a:pt x="690" y="95"/>
                  </a:cubicBezTo>
                  <a:cubicBezTo>
                    <a:pt x="690" y="42"/>
                    <a:pt x="648" y="0"/>
                    <a:pt x="5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3" y="0"/>
                    <a:pt x="0" y="42"/>
                    <a:pt x="0" y="9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49"/>
                    <a:pt x="43" y="6"/>
                    <a:pt x="95" y="6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BF6279BD-6D9D-417D-8C17-FCA6537DD8F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44450"/>
            </a:xfrm>
            <a:custGeom>
              <a:avLst/>
              <a:gdLst>
                <a:gd name="T0" fmla="*/ 7 w 81"/>
                <a:gd name="T1" fmla="*/ 4 h 9"/>
                <a:gd name="T2" fmla="*/ 74 w 81"/>
                <a:gd name="T3" fmla="*/ 4 h 9"/>
                <a:gd name="T4" fmla="*/ 81 w 81"/>
                <a:gd name="T5" fmla="*/ 9 h 9"/>
                <a:gd name="T6" fmla="*/ 81 w 81"/>
                <a:gd name="T7" fmla="*/ 7 h 9"/>
                <a:gd name="T8" fmla="*/ 74 w 81"/>
                <a:gd name="T9" fmla="*/ 0 h 9"/>
                <a:gd name="T10" fmla="*/ 7 w 81"/>
                <a:gd name="T11" fmla="*/ 0 h 9"/>
                <a:gd name="T12" fmla="*/ 0 w 81"/>
                <a:gd name="T13" fmla="*/ 7 h 9"/>
                <a:gd name="T14" fmla="*/ 0 w 81"/>
                <a:gd name="T15" fmla="*/ 9 h 9"/>
                <a:gd name="T16" fmla="*/ 7 w 81"/>
                <a:gd name="T17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9">
                  <a:moveTo>
                    <a:pt x="7" y="4"/>
                  </a:moveTo>
                  <a:cubicBezTo>
                    <a:pt x="74" y="4"/>
                    <a:pt x="74" y="4"/>
                    <a:pt x="74" y="4"/>
                  </a:cubicBezTo>
                  <a:cubicBezTo>
                    <a:pt x="77" y="4"/>
                    <a:pt x="80" y="6"/>
                    <a:pt x="81" y="9"/>
                  </a:cubicBezTo>
                  <a:cubicBezTo>
                    <a:pt x="81" y="9"/>
                    <a:pt x="81" y="8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1" y="6"/>
                    <a:pt x="4" y="4"/>
                    <a:pt x="7" y="4"/>
                  </a:cubicBezTo>
                  <a:close/>
                </a:path>
              </a:pathLst>
            </a:cu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Oval 15">
              <a:extLst>
                <a:ext uri="{FF2B5EF4-FFF2-40B4-BE49-F238E27FC236}">
                  <a16:creationId xmlns:a16="http://schemas.microsoft.com/office/drawing/2014/main" id="{0FB70E9E-2B45-4016-ADD4-6DC47144EF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14735" y="-4694039"/>
              <a:ext cx="10160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Oval 16">
              <a:extLst>
                <a:ext uri="{FF2B5EF4-FFF2-40B4-BE49-F238E27FC236}">
                  <a16:creationId xmlns:a16="http://schemas.microsoft.com/office/drawing/2014/main" id="{243581DB-E17B-47E5-94B0-9BBAE3BBC3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1956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Oval 17">
              <a:extLst>
                <a:ext uri="{FF2B5EF4-FFF2-40B4-BE49-F238E27FC236}">
                  <a16:creationId xmlns:a16="http://schemas.microsoft.com/office/drawing/2014/main" id="{8BB89B5B-E1D6-4477-B69D-4D92C30B3C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83023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Oval 18">
              <a:extLst>
                <a:ext uri="{FF2B5EF4-FFF2-40B4-BE49-F238E27FC236}">
                  <a16:creationId xmlns:a16="http://schemas.microsoft.com/office/drawing/2014/main" id="{2677AA83-6C11-4AAA-8A1C-38CE3E0EB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59210" y="-4694039"/>
              <a:ext cx="98425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Oval 19">
              <a:extLst>
                <a:ext uri="{FF2B5EF4-FFF2-40B4-BE49-F238E27FC236}">
                  <a16:creationId xmlns:a16="http://schemas.microsoft.com/office/drawing/2014/main" id="{347498A8-8317-4156-9C67-B2F30043DA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33810" y="-4670226"/>
              <a:ext cx="47625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Oval 20">
              <a:extLst>
                <a:ext uri="{FF2B5EF4-FFF2-40B4-BE49-F238E27FC236}">
                  <a16:creationId xmlns:a16="http://schemas.microsoft.com/office/drawing/2014/main" id="{8784B471-FC6B-449B-AF55-86EE3923E0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59098" y="-4694039"/>
              <a:ext cx="10795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Oval 21">
              <a:extLst>
                <a:ext uri="{FF2B5EF4-FFF2-40B4-BE49-F238E27FC236}">
                  <a16:creationId xmlns:a16="http://schemas.microsoft.com/office/drawing/2014/main" id="{52A4795E-6331-44E7-8C67-ABD8539275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352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Oval 22">
              <a:extLst>
                <a:ext uri="{FF2B5EF4-FFF2-40B4-BE49-F238E27FC236}">
                  <a16:creationId xmlns:a16="http://schemas.microsoft.com/office/drawing/2014/main" id="{EB91F46B-7A8E-4D7C-B0DA-30F25821CD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30498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Oval 23">
              <a:extLst>
                <a:ext uri="{FF2B5EF4-FFF2-40B4-BE49-F238E27FC236}">
                  <a16:creationId xmlns:a16="http://schemas.microsoft.com/office/drawing/2014/main" id="{30A8B285-000F-410E-80D1-853148CA5F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11448" y="-4694039"/>
              <a:ext cx="103188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" name="Oval 24">
              <a:extLst>
                <a:ext uri="{FF2B5EF4-FFF2-40B4-BE49-F238E27FC236}">
                  <a16:creationId xmlns:a16="http://schemas.microsoft.com/office/drawing/2014/main" id="{4DF59777-F379-4826-AF5D-9852104348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86048" y="-4670226"/>
              <a:ext cx="52388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E93CF105-6846-4A8F-9B6E-62CDA17E3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916164"/>
              <a:ext cx="9525" cy="209550"/>
            </a:xfrm>
            <a:custGeom>
              <a:avLst/>
              <a:gdLst>
                <a:gd name="T0" fmla="*/ 0 w 2"/>
                <a:gd name="T1" fmla="*/ 0 h 43"/>
                <a:gd name="T2" fmla="*/ 0 w 2"/>
                <a:gd name="T3" fmla="*/ 43 h 43"/>
                <a:gd name="T4" fmla="*/ 1 w 2"/>
                <a:gd name="T5" fmla="*/ 43 h 43"/>
                <a:gd name="T6" fmla="*/ 2 w 2"/>
                <a:gd name="T7" fmla="*/ 43 h 43"/>
                <a:gd name="T8" fmla="*/ 2 w 2"/>
                <a:gd name="T9" fmla="*/ 0 h 43"/>
                <a:gd name="T10" fmla="*/ 1 w 2"/>
                <a:gd name="T11" fmla="*/ 0 h 43"/>
                <a:gd name="T12" fmla="*/ 0 w 2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3">
                  <a:moveTo>
                    <a:pt x="0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1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0EEF56BE-3D56-4316-AF3C-F9585325B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4637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id="{65D6B545-272C-443C-9575-39B093AADED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29430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1EABF3EB-E3FD-44A9-90BC-3955DBC6363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28575" cy="787400"/>
            </a:xfrm>
            <a:custGeom>
              <a:avLst/>
              <a:gdLst>
                <a:gd name="T0" fmla="*/ 6 w 6"/>
                <a:gd name="T1" fmla="*/ 158 h 162"/>
                <a:gd name="T2" fmla="*/ 6 w 6"/>
                <a:gd name="T3" fmla="*/ 4 h 162"/>
                <a:gd name="T4" fmla="*/ 2 w 6"/>
                <a:gd name="T5" fmla="*/ 0 h 162"/>
                <a:gd name="T6" fmla="*/ 0 w 6"/>
                <a:gd name="T7" fmla="*/ 0 h 162"/>
                <a:gd name="T8" fmla="*/ 0 w 6"/>
                <a:gd name="T9" fmla="*/ 162 h 162"/>
                <a:gd name="T10" fmla="*/ 2 w 6"/>
                <a:gd name="T11" fmla="*/ 162 h 162"/>
                <a:gd name="T12" fmla="*/ 6 w 6"/>
                <a:gd name="T13" fmla="*/ 15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62">
                  <a:moveTo>
                    <a:pt x="6" y="158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4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2"/>
                    <a:pt x="6" y="160"/>
                    <a:pt x="6" y="158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DF33744E-00AC-4BF9-8670-3059AF54BB6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9525" cy="787400"/>
            </a:xfrm>
            <a:custGeom>
              <a:avLst/>
              <a:gdLst>
                <a:gd name="T0" fmla="*/ 2 w 2"/>
                <a:gd name="T1" fmla="*/ 162 h 162"/>
                <a:gd name="T2" fmla="*/ 2 w 2"/>
                <a:gd name="T3" fmla="*/ 0 h 162"/>
                <a:gd name="T4" fmla="*/ 2 w 2"/>
                <a:gd name="T5" fmla="*/ 0 h 162"/>
                <a:gd name="T6" fmla="*/ 0 w 2"/>
                <a:gd name="T7" fmla="*/ 0 h 162"/>
                <a:gd name="T8" fmla="*/ 0 w 2"/>
                <a:gd name="T9" fmla="*/ 162 h 162"/>
                <a:gd name="T10" fmla="*/ 2 w 2"/>
                <a:gd name="T11" fmla="*/ 162 h 162"/>
                <a:gd name="T12" fmla="*/ 2 w 2"/>
                <a:gd name="T13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62">
                  <a:moveTo>
                    <a:pt x="2" y="162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2" y="162"/>
                    <a:pt x="2" y="162"/>
                    <a:pt x="2" y="162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Rectangle 30">
              <a:extLst>
                <a:ext uri="{FF2B5EF4-FFF2-40B4-BE49-F238E27FC236}">
                  <a16:creationId xmlns:a16="http://schemas.microsoft.com/office/drawing/2014/main" id="{C2DFAF6C-6FC4-47D7-B4B1-A6AD11F1AD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Rectangle 31">
              <a:extLst>
                <a:ext uri="{FF2B5EF4-FFF2-40B4-BE49-F238E27FC236}">
                  <a16:creationId xmlns:a16="http://schemas.microsoft.com/office/drawing/2014/main" id="{CE04325F-86D7-4E04-8DE2-3DDF2EA7C7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Rectangle 32">
              <a:extLst>
                <a:ext uri="{FF2B5EF4-FFF2-40B4-BE49-F238E27FC236}">
                  <a16:creationId xmlns:a16="http://schemas.microsoft.com/office/drawing/2014/main" id="{4A9C54E8-3EA9-41C4-8212-687B23BEC9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Rectangle 33">
              <a:extLst>
                <a:ext uri="{FF2B5EF4-FFF2-40B4-BE49-F238E27FC236}">
                  <a16:creationId xmlns:a16="http://schemas.microsoft.com/office/drawing/2014/main" id="{5CFC10DA-A4F5-4C72-B697-4CEA542545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38" name="Группа 155">
            <a:extLst>
              <a:ext uri="{FF2B5EF4-FFF2-40B4-BE49-F238E27FC236}">
                <a16:creationId xmlns:a16="http://schemas.microsoft.com/office/drawing/2014/main" id="{51B78E1D-93A7-40F4-A31F-D08FDE96F408}"/>
              </a:ext>
            </a:extLst>
          </p:cNvPr>
          <p:cNvGrpSpPr/>
          <p:nvPr userDrawn="1"/>
        </p:nvGrpSpPr>
        <p:grpSpPr>
          <a:xfrm>
            <a:off x="3626957" y="978758"/>
            <a:ext cx="1812965" cy="3455499"/>
            <a:chOff x="-3543473" y="-4875014"/>
            <a:chExt cx="3414713" cy="6508750"/>
          </a:xfrm>
          <a:effectLst/>
        </p:grpSpPr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id="{FFE1DF11-8D6D-40E7-BC59-568ECEC7AD2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6508750"/>
            </a:xfrm>
            <a:custGeom>
              <a:avLst/>
              <a:gdLst>
                <a:gd name="T0" fmla="*/ 595 w 690"/>
                <a:gd name="T1" fmla="*/ 1338 h 1338"/>
                <a:gd name="T2" fmla="*/ 95 w 690"/>
                <a:gd name="T3" fmla="*/ 1338 h 1338"/>
                <a:gd name="T4" fmla="*/ 0 w 690"/>
                <a:gd name="T5" fmla="*/ 1243 h 1338"/>
                <a:gd name="T6" fmla="*/ 0 w 690"/>
                <a:gd name="T7" fmla="*/ 95 h 1338"/>
                <a:gd name="T8" fmla="*/ 95 w 690"/>
                <a:gd name="T9" fmla="*/ 0 h 1338"/>
                <a:gd name="T10" fmla="*/ 595 w 690"/>
                <a:gd name="T11" fmla="*/ 0 h 1338"/>
                <a:gd name="T12" fmla="*/ 690 w 690"/>
                <a:gd name="T13" fmla="*/ 95 h 1338"/>
                <a:gd name="T14" fmla="*/ 690 w 690"/>
                <a:gd name="T15" fmla="*/ 1243 h 1338"/>
                <a:gd name="T16" fmla="*/ 595 w 690"/>
                <a:gd name="T17" fmla="*/ 1338 h 1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338">
                  <a:moveTo>
                    <a:pt x="595" y="1338"/>
                  </a:moveTo>
                  <a:cubicBezTo>
                    <a:pt x="95" y="1338"/>
                    <a:pt x="95" y="1338"/>
                    <a:pt x="95" y="1338"/>
                  </a:cubicBezTo>
                  <a:cubicBezTo>
                    <a:pt x="43" y="1338"/>
                    <a:pt x="0" y="1296"/>
                    <a:pt x="0" y="1243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42"/>
                    <a:pt x="43" y="0"/>
                    <a:pt x="95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648" y="0"/>
                    <a:pt x="690" y="42"/>
                    <a:pt x="690" y="95"/>
                  </a:cubicBezTo>
                  <a:cubicBezTo>
                    <a:pt x="690" y="1243"/>
                    <a:pt x="690" y="1243"/>
                    <a:pt x="690" y="1243"/>
                  </a:cubicBezTo>
                  <a:cubicBezTo>
                    <a:pt x="690" y="1296"/>
                    <a:pt x="648" y="1338"/>
                    <a:pt x="595" y="133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F313F226-EB05-4D8F-B7CC-965931E17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56160" y="-4816276"/>
              <a:ext cx="3240088" cy="6391275"/>
            </a:xfrm>
            <a:custGeom>
              <a:avLst/>
              <a:gdLst>
                <a:gd name="T0" fmla="*/ 583 w 666"/>
                <a:gd name="T1" fmla="*/ 1314 h 1314"/>
                <a:gd name="T2" fmla="*/ 83 w 666"/>
                <a:gd name="T3" fmla="*/ 1314 h 1314"/>
                <a:gd name="T4" fmla="*/ 0 w 666"/>
                <a:gd name="T5" fmla="*/ 1231 h 1314"/>
                <a:gd name="T6" fmla="*/ 0 w 666"/>
                <a:gd name="T7" fmla="*/ 83 h 1314"/>
                <a:gd name="T8" fmla="*/ 83 w 666"/>
                <a:gd name="T9" fmla="*/ 0 h 1314"/>
                <a:gd name="T10" fmla="*/ 583 w 666"/>
                <a:gd name="T11" fmla="*/ 0 h 1314"/>
                <a:gd name="T12" fmla="*/ 666 w 666"/>
                <a:gd name="T13" fmla="*/ 83 h 1314"/>
                <a:gd name="T14" fmla="*/ 666 w 666"/>
                <a:gd name="T15" fmla="*/ 1231 h 1314"/>
                <a:gd name="T16" fmla="*/ 583 w 666"/>
                <a:gd name="T17" fmla="*/ 1314 h 1314"/>
                <a:gd name="T18" fmla="*/ 83 w 666"/>
                <a:gd name="T19" fmla="*/ 2 h 1314"/>
                <a:gd name="T20" fmla="*/ 2 w 666"/>
                <a:gd name="T21" fmla="*/ 83 h 1314"/>
                <a:gd name="T22" fmla="*/ 2 w 666"/>
                <a:gd name="T23" fmla="*/ 1231 h 1314"/>
                <a:gd name="T24" fmla="*/ 83 w 666"/>
                <a:gd name="T25" fmla="*/ 1312 h 1314"/>
                <a:gd name="T26" fmla="*/ 583 w 666"/>
                <a:gd name="T27" fmla="*/ 1312 h 1314"/>
                <a:gd name="T28" fmla="*/ 664 w 666"/>
                <a:gd name="T29" fmla="*/ 1231 h 1314"/>
                <a:gd name="T30" fmla="*/ 664 w 666"/>
                <a:gd name="T31" fmla="*/ 83 h 1314"/>
                <a:gd name="T32" fmla="*/ 583 w 666"/>
                <a:gd name="T33" fmla="*/ 2 h 1314"/>
                <a:gd name="T34" fmla="*/ 83 w 666"/>
                <a:gd name="T35" fmla="*/ 2 h 1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6" h="1314">
                  <a:moveTo>
                    <a:pt x="583" y="1314"/>
                  </a:moveTo>
                  <a:cubicBezTo>
                    <a:pt x="83" y="1314"/>
                    <a:pt x="83" y="1314"/>
                    <a:pt x="83" y="1314"/>
                  </a:cubicBezTo>
                  <a:cubicBezTo>
                    <a:pt x="37" y="1314"/>
                    <a:pt x="0" y="1277"/>
                    <a:pt x="0" y="1231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583" y="0"/>
                    <a:pt x="583" y="0"/>
                    <a:pt x="583" y="0"/>
                  </a:cubicBezTo>
                  <a:cubicBezTo>
                    <a:pt x="629" y="0"/>
                    <a:pt x="666" y="37"/>
                    <a:pt x="666" y="83"/>
                  </a:cubicBezTo>
                  <a:cubicBezTo>
                    <a:pt x="666" y="1231"/>
                    <a:pt x="666" y="1231"/>
                    <a:pt x="666" y="1231"/>
                  </a:cubicBezTo>
                  <a:cubicBezTo>
                    <a:pt x="666" y="1277"/>
                    <a:pt x="629" y="1314"/>
                    <a:pt x="583" y="1314"/>
                  </a:cubicBezTo>
                  <a:close/>
                  <a:moveTo>
                    <a:pt x="83" y="2"/>
                  </a:moveTo>
                  <a:cubicBezTo>
                    <a:pt x="38" y="2"/>
                    <a:pt x="2" y="38"/>
                    <a:pt x="2" y="83"/>
                  </a:cubicBezTo>
                  <a:cubicBezTo>
                    <a:pt x="2" y="1231"/>
                    <a:pt x="2" y="1231"/>
                    <a:pt x="2" y="1231"/>
                  </a:cubicBezTo>
                  <a:cubicBezTo>
                    <a:pt x="2" y="1276"/>
                    <a:pt x="38" y="1312"/>
                    <a:pt x="83" y="1312"/>
                  </a:cubicBezTo>
                  <a:cubicBezTo>
                    <a:pt x="583" y="1312"/>
                    <a:pt x="583" y="1312"/>
                    <a:pt x="583" y="1312"/>
                  </a:cubicBezTo>
                  <a:cubicBezTo>
                    <a:pt x="628" y="1312"/>
                    <a:pt x="664" y="1276"/>
                    <a:pt x="664" y="1231"/>
                  </a:cubicBezTo>
                  <a:cubicBezTo>
                    <a:pt x="664" y="83"/>
                    <a:pt x="664" y="83"/>
                    <a:pt x="664" y="83"/>
                  </a:cubicBezTo>
                  <a:cubicBezTo>
                    <a:pt x="664" y="38"/>
                    <a:pt x="628" y="2"/>
                    <a:pt x="583" y="2"/>
                  </a:cubicBezTo>
                  <a:lnTo>
                    <a:pt x="83" y="2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996A4164-A975-4B78-A778-64AB1EC5B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73025"/>
            </a:xfrm>
            <a:custGeom>
              <a:avLst/>
              <a:gdLst>
                <a:gd name="T0" fmla="*/ 74 w 81"/>
                <a:gd name="T1" fmla="*/ 0 h 15"/>
                <a:gd name="T2" fmla="*/ 7 w 81"/>
                <a:gd name="T3" fmla="*/ 0 h 15"/>
                <a:gd name="T4" fmla="*/ 0 w 81"/>
                <a:gd name="T5" fmla="*/ 7 h 15"/>
                <a:gd name="T6" fmla="*/ 7 w 81"/>
                <a:gd name="T7" fmla="*/ 15 h 15"/>
                <a:gd name="T8" fmla="*/ 74 w 81"/>
                <a:gd name="T9" fmla="*/ 15 h 15"/>
                <a:gd name="T10" fmla="*/ 81 w 81"/>
                <a:gd name="T11" fmla="*/ 7 h 15"/>
                <a:gd name="T12" fmla="*/ 74 w 81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">
                  <a:moveTo>
                    <a:pt x="7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5"/>
                    <a:pt x="7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8" y="15"/>
                    <a:pt x="81" y="11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lose/>
                </a:path>
              </a:pathLst>
            </a:cu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922F339C-8B7D-488B-8DC2-355CC5342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4637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FDF5369B-9B2B-476A-9782-2DAAA63D4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3916164"/>
              <a:ext cx="28575" cy="209550"/>
            </a:xfrm>
            <a:custGeom>
              <a:avLst/>
              <a:gdLst>
                <a:gd name="T0" fmla="*/ 5 w 6"/>
                <a:gd name="T1" fmla="*/ 0 h 43"/>
                <a:gd name="T2" fmla="*/ 0 w 6"/>
                <a:gd name="T3" fmla="*/ 4 h 43"/>
                <a:gd name="T4" fmla="*/ 0 w 6"/>
                <a:gd name="T5" fmla="*/ 39 h 43"/>
                <a:gd name="T6" fmla="*/ 5 w 6"/>
                <a:gd name="T7" fmla="*/ 43 h 43"/>
                <a:gd name="T8" fmla="*/ 6 w 6"/>
                <a:gd name="T9" fmla="*/ 43 h 43"/>
                <a:gd name="T10" fmla="*/ 6 w 6"/>
                <a:gd name="T11" fmla="*/ 0 h 43"/>
                <a:gd name="T12" fmla="*/ 5 w 6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3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2" y="43"/>
                    <a:pt x="5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8593727A-4668-48B2-A3F8-32949A0BA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3" y="-2943026"/>
              <a:ext cx="28575" cy="388938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Freeform 12">
              <a:extLst>
                <a:ext uri="{FF2B5EF4-FFF2-40B4-BE49-F238E27FC236}">
                  <a16:creationId xmlns:a16="http://schemas.microsoft.com/office/drawing/2014/main" id="{92AD8A6B-3E1E-4B5C-A361-CB5703AA2D0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1141611"/>
              <a:ext cx="3357563" cy="492125"/>
            </a:xfrm>
            <a:custGeom>
              <a:avLst/>
              <a:gdLst>
                <a:gd name="T0" fmla="*/ 595 w 690"/>
                <a:gd name="T1" fmla="*/ 95 h 101"/>
                <a:gd name="T2" fmla="*/ 95 w 690"/>
                <a:gd name="T3" fmla="*/ 95 h 101"/>
                <a:gd name="T4" fmla="*/ 0 w 690"/>
                <a:gd name="T5" fmla="*/ 0 h 101"/>
                <a:gd name="T6" fmla="*/ 0 w 690"/>
                <a:gd name="T7" fmla="*/ 6 h 101"/>
                <a:gd name="T8" fmla="*/ 95 w 690"/>
                <a:gd name="T9" fmla="*/ 101 h 101"/>
                <a:gd name="T10" fmla="*/ 595 w 690"/>
                <a:gd name="T11" fmla="*/ 101 h 101"/>
                <a:gd name="T12" fmla="*/ 690 w 690"/>
                <a:gd name="T13" fmla="*/ 6 h 101"/>
                <a:gd name="T14" fmla="*/ 690 w 690"/>
                <a:gd name="T15" fmla="*/ 0 h 101"/>
                <a:gd name="T16" fmla="*/ 595 w 690"/>
                <a:gd name="T17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595" y="95"/>
                  </a:moveTo>
                  <a:cubicBezTo>
                    <a:pt x="95" y="95"/>
                    <a:pt x="95" y="95"/>
                    <a:pt x="95" y="95"/>
                  </a:cubicBezTo>
                  <a:cubicBezTo>
                    <a:pt x="43" y="95"/>
                    <a:pt x="0" y="53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9"/>
                    <a:pt x="43" y="101"/>
                    <a:pt x="95" y="101"/>
                  </a:cubicBezTo>
                  <a:cubicBezTo>
                    <a:pt x="595" y="101"/>
                    <a:pt x="595" y="101"/>
                    <a:pt x="595" y="101"/>
                  </a:cubicBezTo>
                  <a:cubicBezTo>
                    <a:pt x="648" y="101"/>
                    <a:pt x="690" y="59"/>
                    <a:pt x="690" y="6"/>
                  </a:cubicBezTo>
                  <a:cubicBezTo>
                    <a:pt x="690" y="0"/>
                    <a:pt x="690" y="0"/>
                    <a:pt x="690" y="0"/>
                  </a:cubicBezTo>
                  <a:cubicBezTo>
                    <a:pt x="690" y="53"/>
                    <a:pt x="648" y="95"/>
                    <a:pt x="595" y="95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Freeform 13">
              <a:extLst>
                <a:ext uri="{FF2B5EF4-FFF2-40B4-BE49-F238E27FC236}">
                  <a16:creationId xmlns:a16="http://schemas.microsoft.com/office/drawing/2014/main" id="{21B01521-9DCB-494A-B582-43674F79956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8" y="-4875014"/>
              <a:ext cx="3357563" cy="492125"/>
            </a:xfrm>
            <a:custGeom>
              <a:avLst/>
              <a:gdLst>
                <a:gd name="T0" fmla="*/ 95 w 690"/>
                <a:gd name="T1" fmla="*/ 6 h 101"/>
                <a:gd name="T2" fmla="*/ 595 w 690"/>
                <a:gd name="T3" fmla="*/ 6 h 101"/>
                <a:gd name="T4" fmla="*/ 690 w 690"/>
                <a:gd name="T5" fmla="*/ 101 h 101"/>
                <a:gd name="T6" fmla="*/ 690 w 690"/>
                <a:gd name="T7" fmla="*/ 95 h 101"/>
                <a:gd name="T8" fmla="*/ 595 w 690"/>
                <a:gd name="T9" fmla="*/ 0 h 101"/>
                <a:gd name="T10" fmla="*/ 95 w 690"/>
                <a:gd name="T11" fmla="*/ 0 h 101"/>
                <a:gd name="T12" fmla="*/ 0 w 690"/>
                <a:gd name="T13" fmla="*/ 95 h 101"/>
                <a:gd name="T14" fmla="*/ 0 w 690"/>
                <a:gd name="T15" fmla="*/ 101 h 101"/>
                <a:gd name="T16" fmla="*/ 95 w 690"/>
                <a:gd name="T17" fmla="*/ 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95" y="6"/>
                  </a:moveTo>
                  <a:cubicBezTo>
                    <a:pt x="595" y="6"/>
                    <a:pt x="595" y="6"/>
                    <a:pt x="595" y="6"/>
                  </a:cubicBezTo>
                  <a:cubicBezTo>
                    <a:pt x="648" y="6"/>
                    <a:pt x="690" y="49"/>
                    <a:pt x="690" y="101"/>
                  </a:cubicBezTo>
                  <a:cubicBezTo>
                    <a:pt x="690" y="95"/>
                    <a:pt x="690" y="95"/>
                    <a:pt x="690" y="95"/>
                  </a:cubicBezTo>
                  <a:cubicBezTo>
                    <a:pt x="690" y="42"/>
                    <a:pt x="648" y="0"/>
                    <a:pt x="5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3" y="0"/>
                    <a:pt x="0" y="42"/>
                    <a:pt x="0" y="9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49"/>
                    <a:pt x="43" y="6"/>
                    <a:pt x="95" y="6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Freeform 14">
              <a:extLst>
                <a:ext uri="{FF2B5EF4-FFF2-40B4-BE49-F238E27FC236}">
                  <a16:creationId xmlns:a16="http://schemas.microsoft.com/office/drawing/2014/main" id="{4D3CCE09-68ED-4D73-B6D8-4C6685E88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5" y="-4679751"/>
              <a:ext cx="393700" cy="44450"/>
            </a:xfrm>
            <a:custGeom>
              <a:avLst/>
              <a:gdLst>
                <a:gd name="T0" fmla="*/ 7 w 81"/>
                <a:gd name="T1" fmla="*/ 4 h 9"/>
                <a:gd name="T2" fmla="*/ 74 w 81"/>
                <a:gd name="T3" fmla="*/ 4 h 9"/>
                <a:gd name="T4" fmla="*/ 81 w 81"/>
                <a:gd name="T5" fmla="*/ 9 h 9"/>
                <a:gd name="T6" fmla="*/ 81 w 81"/>
                <a:gd name="T7" fmla="*/ 7 h 9"/>
                <a:gd name="T8" fmla="*/ 74 w 81"/>
                <a:gd name="T9" fmla="*/ 0 h 9"/>
                <a:gd name="T10" fmla="*/ 7 w 81"/>
                <a:gd name="T11" fmla="*/ 0 h 9"/>
                <a:gd name="T12" fmla="*/ 0 w 81"/>
                <a:gd name="T13" fmla="*/ 7 h 9"/>
                <a:gd name="T14" fmla="*/ 0 w 81"/>
                <a:gd name="T15" fmla="*/ 9 h 9"/>
                <a:gd name="T16" fmla="*/ 7 w 81"/>
                <a:gd name="T17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9">
                  <a:moveTo>
                    <a:pt x="7" y="4"/>
                  </a:moveTo>
                  <a:cubicBezTo>
                    <a:pt x="74" y="4"/>
                    <a:pt x="74" y="4"/>
                    <a:pt x="74" y="4"/>
                  </a:cubicBezTo>
                  <a:cubicBezTo>
                    <a:pt x="77" y="4"/>
                    <a:pt x="80" y="6"/>
                    <a:pt x="81" y="9"/>
                  </a:cubicBezTo>
                  <a:cubicBezTo>
                    <a:pt x="81" y="9"/>
                    <a:pt x="81" y="8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1" y="6"/>
                    <a:pt x="4" y="4"/>
                    <a:pt x="7" y="4"/>
                  </a:cubicBezTo>
                  <a:close/>
                </a:path>
              </a:pathLst>
            </a:cu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Oval 15">
              <a:extLst>
                <a:ext uri="{FF2B5EF4-FFF2-40B4-BE49-F238E27FC236}">
                  <a16:creationId xmlns:a16="http://schemas.microsoft.com/office/drawing/2014/main" id="{5CCEBBBF-7C7F-45AC-8A82-67EEC91F57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14735" y="-4694039"/>
              <a:ext cx="10160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Oval 16">
              <a:extLst>
                <a:ext uri="{FF2B5EF4-FFF2-40B4-BE49-F238E27FC236}">
                  <a16:creationId xmlns:a16="http://schemas.microsoft.com/office/drawing/2014/main" id="{8ADCA090-F429-40F8-81B3-BF588CE45E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1956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" name="Oval 17">
              <a:extLst>
                <a:ext uri="{FF2B5EF4-FFF2-40B4-BE49-F238E27FC236}">
                  <a16:creationId xmlns:a16="http://schemas.microsoft.com/office/drawing/2014/main" id="{C32CD1CD-FE94-4CCB-B5E4-FFC37CCD3E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83023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" name="Oval 18">
              <a:extLst>
                <a:ext uri="{FF2B5EF4-FFF2-40B4-BE49-F238E27FC236}">
                  <a16:creationId xmlns:a16="http://schemas.microsoft.com/office/drawing/2014/main" id="{4F565520-F27C-4A8D-A8D2-5C279A5544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59210" y="-4694039"/>
              <a:ext cx="98425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" name="Oval 19">
              <a:extLst>
                <a:ext uri="{FF2B5EF4-FFF2-40B4-BE49-F238E27FC236}">
                  <a16:creationId xmlns:a16="http://schemas.microsoft.com/office/drawing/2014/main" id="{89C10A88-A3A5-434E-92C0-BB7F9D5D6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33810" y="-4670226"/>
              <a:ext cx="47625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" name="Oval 20">
              <a:extLst>
                <a:ext uri="{FF2B5EF4-FFF2-40B4-BE49-F238E27FC236}">
                  <a16:creationId xmlns:a16="http://schemas.microsoft.com/office/drawing/2014/main" id="{397D51FF-E6DA-4FC0-B26D-F2389C1C18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59098" y="-4694039"/>
              <a:ext cx="10795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" name="Oval 21">
              <a:extLst>
                <a:ext uri="{FF2B5EF4-FFF2-40B4-BE49-F238E27FC236}">
                  <a16:creationId xmlns:a16="http://schemas.microsoft.com/office/drawing/2014/main" id="{51B9E20D-548C-4ED4-B37F-0CAC17D85B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35285" y="-4674989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" name="Oval 22">
              <a:extLst>
                <a:ext uri="{FF2B5EF4-FFF2-40B4-BE49-F238E27FC236}">
                  <a16:creationId xmlns:a16="http://schemas.microsoft.com/office/drawing/2014/main" id="{BB6FD23F-628C-4178-8825-A36908DB41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30498" y="-4714676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" name="Oval 23">
              <a:extLst>
                <a:ext uri="{FF2B5EF4-FFF2-40B4-BE49-F238E27FC236}">
                  <a16:creationId xmlns:a16="http://schemas.microsoft.com/office/drawing/2014/main" id="{74EB880B-4772-409F-9427-3C24AC1290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11448" y="-4694039"/>
              <a:ext cx="103188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" name="Oval 24">
              <a:extLst>
                <a:ext uri="{FF2B5EF4-FFF2-40B4-BE49-F238E27FC236}">
                  <a16:creationId xmlns:a16="http://schemas.microsoft.com/office/drawing/2014/main" id="{5192193E-BC04-409B-A12A-9EC98D2D1B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86048" y="-4670226"/>
              <a:ext cx="52388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" name="Freeform 25">
              <a:extLst>
                <a:ext uri="{FF2B5EF4-FFF2-40B4-BE49-F238E27FC236}">
                  <a16:creationId xmlns:a16="http://schemas.microsoft.com/office/drawing/2014/main" id="{2A7F1686-C350-4AC3-9FE3-C34073AC173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916164"/>
              <a:ext cx="9525" cy="209550"/>
            </a:xfrm>
            <a:custGeom>
              <a:avLst/>
              <a:gdLst>
                <a:gd name="T0" fmla="*/ 0 w 2"/>
                <a:gd name="T1" fmla="*/ 0 h 43"/>
                <a:gd name="T2" fmla="*/ 0 w 2"/>
                <a:gd name="T3" fmla="*/ 43 h 43"/>
                <a:gd name="T4" fmla="*/ 1 w 2"/>
                <a:gd name="T5" fmla="*/ 43 h 43"/>
                <a:gd name="T6" fmla="*/ 2 w 2"/>
                <a:gd name="T7" fmla="*/ 43 h 43"/>
                <a:gd name="T8" fmla="*/ 2 w 2"/>
                <a:gd name="T9" fmla="*/ 0 h 43"/>
                <a:gd name="T10" fmla="*/ 1 w 2"/>
                <a:gd name="T11" fmla="*/ 0 h 43"/>
                <a:gd name="T12" fmla="*/ 0 w 2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3">
                  <a:moveTo>
                    <a:pt x="0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1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" name="Freeform 26">
              <a:extLst>
                <a:ext uri="{FF2B5EF4-FFF2-40B4-BE49-F238E27FC236}">
                  <a16:creationId xmlns:a16="http://schemas.microsoft.com/office/drawing/2014/main" id="{8F54CFF4-283F-4F17-9D91-E8BB3503C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34637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" name="Freeform 27">
              <a:extLst>
                <a:ext uri="{FF2B5EF4-FFF2-40B4-BE49-F238E27FC236}">
                  <a16:creationId xmlns:a16="http://schemas.microsoft.com/office/drawing/2014/main" id="{4A3FB082-3DE9-4BC4-8718-EFC7DBBA220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3" y="-2943026"/>
              <a:ext cx="9525" cy="388938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" name="Freeform 28">
              <a:extLst>
                <a:ext uri="{FF2B5EF4-FFF2-40B4-BE49-F238E27FC236}">
                  <a16:creationId xmlns:a16="http://schemas.microsoft.com/office/drawing/2014/main" id="{8436467B-8914-422C-9469-05E8BDF3E3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28575" cy="787400"/>
            </a:xfrm>
            <a:custGeom>
              <a:avLst/>
              <a:gdLst>
                <a:gd name="T0" fmla="*/ 6 w 6"/>
                <a:gd name="T1" fmla="*/ 158 h 162"/>
                <a:gd name="T2" fmla="*/ 6 w 6"/>
                <a:gd name="T3" fmla="*/ 4 h 162"/>
                <a:gd name="T4" fmla="*/ 2 w 6"/>
                <a:gd name="T5" fmla="*/ 0 h 162"/>
                <a:gd name="T6" fmla="*/ 0 w 6"/>
                <a:gd name="T7" fmla="*/ 0 h 162"/>
                <a:gd name="T8" fmla="*/ 0 w 6"/>
                <a:gd name="T9" fmla="*/ 162 h 162"/>
                <a:gd name="T10" fmla="*/ 2 w 6"/>
                <a:gd name="T11" fmla="*/ 162 h 162"/>
                <a:gd name="T12" fmla="*/ 6 w 6"/>
                <a:gd name="T13" fmla="*/ 15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62">
                  <a:moveTo>
                    <a:pt x="6" y="158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4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2"/>
                    <a:pt x="6" y="160"/>
                    <a:pt x="6" y="158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" name="Freeform 29">
              <a:extLst>
                <a:ext uri="{FF2B5EF4-FFF2-40B4-BE49-F238E27FC236}">
                  <a16:creationId xmlns:a16="http://schemas.microsoft.com/office/drawing/2014/main" id="{9A17E4B3-7C71-4B00-9805-B46DE126E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76"/>
              <a:ext cx="9525" cy="787400"/>
            </a:xfrm>
            <a:custGeom>
              <a:avLst/>
              <a:gdLst>
                <a:gd name="T0" fmla="*/ 2 w 2"/>
                <a:gd name="T1" fmla="*/ 162 h 162"/>
                <a:gd name="T2" fmla="*/ 2 w 2"/>
                <a:gd name="T3" fmla="*/ 0 h 162"/>
                <a:gd name="T4" fmla="*/ 2 w 2"/>
                <a:gd name="T5" fmla="*/ 0 h 162"/>
                <a:gd name="T6" fmla="*/ 0 w 2"/>
                <a:gd name="T7" fmla="*/ 0 h 162"/>
                <a:gd name="T8" fmla="*/ 0 w 2"/>
                <a:gd name="T9" fmla="*/ 162 h 162"/>
                <a:gd name="T10" fmla="*/ 2 w 2"/>
                <a:gd name="T11" fmla="*/ 162 h 162"/>
                <a:gd name="T12" fmla="*/ 2 w 2"/>
                <a:gd name="T13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62">
                  <a:moveTo>
                    <a:pt x="2" y="162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2" y="162"/>
                    <a:pt x="2" y="162"/>
                    <a:pt x="2" y="162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" name="Rectangle 30">
              <a:extLst>
                <a:ext uri="{FF2B5EF4-FFF2-40B4-BE49-F238E27FC236}">
                  <a16:creationId xmlns:a16="http://schemas.microsoft.com/office/drawing/2014/main" id="{9DE3C726-D714-4EDF-BBEA-00C3D77F2A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" name="Rectangle 31">
              <a:extLst>
                <a:ext uri="{FF2B5EF4-FFF2-40B4-BE49-F238E27FC236}">
                  <a16:creationId xmlns:a16="http://schemas.microsoft.com/office/drawing/2014/main" id="{023670C0-B321-4C90-BC7A-44033C2B45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766961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" name="Rectangle 32">
              <a:extLst>
                <a:ext uri="{FF2B5EF4-FFF2-40B4-BE49-F238E27FC236}">
                  <a16:creationId xmlns:a16="http://schemas.microsoft.com/office/drawing/2014/main" id="{A65B4DFD-88E3-4D13-A159-448A498A29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" name="Rectangle 33">
              <a:extLst>
                <a:ext uri="{FF2B5EF4-FFF2-40B4-BE49-F238E27FC236}">
                  <a16:creationId xmlns:a16="http://schemas.microsoft.com/office/drawing/2014/main" id="{7C791AB0-B986-476B-917D-99EF307D38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67" name="Freeform 7">
            <a:extLst>
              <a:ext uri="{FF2B5EF4-FFF2-40B4-BE49-F238E27FC236}">
                <a16:creationId xmlns:a16="http://schemas.microsoft.com/office/drawing/2014/main" id="{6EEBB929-53A7-42F8-8771-C778CAFAE0F4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 bwMode="auto">
          <a:xfrm>
            <a:off x="6966441" y="1063880"/>
            <a:ext cx="1605624" cy="3285253"/>
          </a:xfrm>
          <a:custGeom>
            <a:avLst/>
            <a:gdLst>
              <a:gd name="T0" fmla="*/ 562 w 624"/>
              <a:gd name="T1" fmla="*/ 0 h 1272"/>
              <a:gd name="T2" fmla="*/ 507 w 624"/>
              <a:gd name="T3" fmla="*/ 0 h 1272"/>
              <a:gd name="T4" fmla="*/ 477 w 624"/>
              <a:gd name="T5" fmla="*/ 20 h 1272"/>
              <a:gd name="T6" fmla="*/ 476 w 624"/>
              <a:gd name="T7" fmla="*/ 22 h 1272"/>
              <a:gd name="T8" fmla="*/ 447 w 624"/>
              <a:gd name="T9" fmla="*/ 42 h 1272"/>
              <a:gd name="T10" fmla="*/ 178 w 624"/>
              <a:gd name="T11" fmla="*/ 42 h 1272"/>
              <a:gd name="T12" fmla="*/ 148 w 624"/>
              <a:gd name="T13" fmla="*/ 22 h 1272"/>
              <a:gd name="T14" fmla="*/ 147 w 624"/>
              <a:gd name="T15" fmla="*/ 20 h 1272"/>
              <a:gd name="T16" fmla="*/ 118 w 624"/>
              <a:gd name="T17" fmla="*/ 0 h 1272"/>
              <a:gd name="T18" fmla="*/ 63 w 624"/>
              <a:gd name="T19" fmla="*/ 0 h 1272"/>
              <a:gd name="T20" fmla="*/ 17 w 624"/>
              <a:gd name="T21" fmla="*/ 20 h 1272"/>
              <a:gd name="T22" fmla="*/ 0 w 624"/>
              <a:gd name="T23" fmla="*/ 62 h 1272"/>
              <a:gd name="T24" fmla="*/ 0 w 624"/>
              <a:gd name="T25" fmla="*/ 1210 h 1272"/>
              <a:gd name="T26" fmla="*/ 18 w 624"/>
              <a:gd name="T27" fmla="*/ 1254 h 1272"/>
              <a:gd name="T28" fmla="*/ 62 w 624"/>
              <a:gd name="T29" fmla="*/ 1272 h 1272"/>
              <a:gd name="T30" fmla="*/ 562 w 624"/>
              <a:gd name="T31" fmla="*/ 1272 h 1272"/>
              <a:gd name="T32" fmla="*/ 624 w 624"/>
              <a:gd name="T33" fmla="*/ 1210 h 1272"/>
              <a:gd name="T34" fmla="*/ 624 w 624"/>
              <a:gd name="T35" fmla="*/ 62 h 1272"/>
              <a:gd name="T36" fmla="*/ 562 w 624"/>
              <a:gd name="T37" fmla="*/ 0 h 1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4" h="1272">
                <a:moveTo>
                  <a:pt x="562" y="0"/>
                </a:moveTo>
                <a:cubicBezTo>
                  <a:pt x="507" y="0"/>
                  <a:pt x="507" y="0"/>
                  <a:pt x="507" y="0"/>
                </a:cubicBezTo>
                <a:cubicBezTo>
                  <a:pt x="494" y="0"/>
                  <a:pt x="482" y="8"/>
                  <a:pt x="477" y="20"/>
                </a:cubicBezTo>
                <a:cubicBezTo>
                  <a:pt x="476" y="22"/>
                  <a:pt x="476" y="22"/>
                  <a:pt x="476" y="22"/>
                </a:cubicBezTo>
                <a:cubicBezTo>
                  <a:pt x="472" y="35"/>
                  <a:pt x="460" y="42"/>
                  <a:pt x="447" y="42"/>
                </a:cubicBezTo>
                <a:cubicBezTo>
                  <a:pt x="178" y="42"/>
                  <a:pt x="178" y="42"/>
                  <a:pt x="178" y="42"/>
                </a:cubicBezTo>
                <a:cubicBezTo>
                  <a:pt x="165" y="42"/>
                  <a:pt x="153" y="35"/>
                  <a:pt x="148" y="22"/>
                </a:cubicBezTo>
                <a:cubicBezTo>
                  <a:pt x="147" y="20"/>
                  <a:pt x="147" y="20"/>
                  <a:pt x="147" y="20"/>
                </a:cubicBezTo>
                <a:cubicBezTo>
                  <a:pt x="142" y="8"/>
                  <a:pt x="131" y="0"/>
                  <a:pt x="118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45" y="0"/>
                  <a:pt x="28" y="7"/>
                  <a:pt x="17" y="20"/>
                </a:cubicBezTo>
                <a:cubicBezTo>
                  <a:pt x="6" y="31"/>
                  <a:pt x="0" y="46"/>
                  <a:pt x="0" y="62"/>
                </a:cubicBezTo>
                <a:cubicBezTo>
                  <a:pt x="0" y="1210"/>
                  <a:pt x="0" y="1210"/>
                  <a:pt x="0" y="1210"/>
                </a:cubicBezTo>
                <a:cubicBezTo>
                  <a:pt x="0" y="1227"/>
                  <a:pt x="7" y="1243"/>
                  <a:pt x="18" y="1254"/>
                </a:cubicBezTo>
                <a:cubicBezTo>
                  <a:pt x="30" y="1266"/>
                  <a:pt x="46" y="1272"/>
                  <a:pt x="62" y="1272"/>
                </a:cubicBezTo>
                <a:cubicBezTo>
                  <a:pt x="562" y="1272"/>
                  <a:pt x="562" y="1272"/>
                  <a:pt x="562" y="1272"/>
                </a:cubicBezTo>
                <a:cubicBezTo>
                  <a:pt x="597" y="1272"/>
                  <a:pt x="624" y="1245"/>
                  <a:pt x="624" y="1210"/>
                </a:cubicBezTo>
                <a:cubicBezTo>
                  <a:pt x="624" y="62"/>
                  <a:pt x="624" y="62"/>
                  <a:pt x="624" y="62"/>
                </a:cubicBezTo>
                <a:cubicBezTo>
                  <a:pt x="624" y="28"/>
                  <a:pt x="597" y="0"/>
                  <a:pt x="562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30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68" name="Freeform 7">
            <a:extLst>
              <a:ext uri="{FF2B5EF4-FFF2-40B4-BE49-F238E27FC236}">
                <a16:creationId xmlns:a16="http://schemas.microsoft.com/office/drawing/2014/main" id="{DC4C5B07-50E3-41D7-AE59-14BCDD6EF0B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auto">
          <a:xfrm>
            <a:off x="3726218" y="1063654"/>
            <a:ext cx="1605624" cy="3285253"/>
          </a:xfrm>
          <a:custGeom>
            <a:avLst/>
            <a:gdLst>
              <a:gd name="T0" fmla="*/ 562 w 624"/>
              <a:gd name="T1" fmla="*/ 0 h 1272"/>
              <a:gd name="T2" fmla="*/ 507 w 624"/>
              <a:gd name="T3" fmla="*/ 0 h 1272"/>
              <a:gd name="T4" fmla="*/ 477 w 624"/>
              <a:gd name="T5" fmla="*/ 20 h 1272"/>
              <a:gd name="T6" fmla="*/ 476 w 624"/>
              <a:gd name="T7" fmla="*/ 22 h 1272"/>
              <a:gd name="T8" fmla="*/ 447 w 624"/>
              <a:gd name="T9" fmla="*/ 42 h 1272"/>
              <a:gd name="T10" fmla="*/ 178 w 624"/>
              <a:gd name="T11" fmla="*/ 42 h 1272"/>
              <a:gd name="T12" fmla="*/ 148 w 624"/>
              <a:gd name="T13" fmla="*/ 22 h 1272"/>
              <a:gd name="T14" fmla="*/ 147 w 624"/>
              <a:gd name="T15" fmla="*/ 20 h 1272"/>
              <a:gd name="T16" fmla="*/ 118 w 624"/>
              <a:gd name="T17" fmla="*/ 0 h 1272"/>
              <a:gd name="T18" fmla="*/ 63 w 624"/>
              <a:gd name="T19" fmla="*/ 0 h 1272"/>
              <a:gd name="T20" fmla="*/ 17 w 624"/>
              <a:gd name="T21" fmla="*/ 20 h 1272"/>
              <a:gd name="T22" fmla="*/ 0 w 624"/>
              <a:gd name="T23" fmla="*/ 62 h 1272"/>
              <a:gd name="T24" fmla="*/ 0 w 624"/>
              <a:gd name="T25" fmla="*/ 1210 h 1272"/>
              <a:gd name="T26" fmla="*/ 18 w 624"/>
              <a:gd name="T27" fmla="*/ 1254 h 1272"/>
              <a:gd name="T28" fmla="*/ 62 w 624"/>
              <a:gd name="T29" fmla="*/ 1272 h 1272"/>
              <a:gd name="T30" fmla="*/ 562 w 624"/>
              <a:gd name="T31" fmla="*/ 1272 h 1272"/>
              <a:gd name="T32" fmla="*/ 624 w 624"/>
              <a:gd name="T33" fmla="*/ 1210 h 1272"/>
              <a:gd name="T34" fmla="*/ 624 w 624"/>
              <a:gd name="T35" fmla="*/ 62 h 1272"/>
              <a:gd name="T36" fmla="*/ 562 w 624"/>
              <a:gd name="T37" fmla="*/ 0 h 1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4" h="1272">
                <a:moveTo>
                  <a:pt x="562" y="0"/>
                </a:moveTo>
                <a:cubicBezTo>
                  <a:pt x="507" y="0"/>
                  <a:pt x="507" y="0"/>
                  <a:pt x="507" y="0"/>
                </a:cubicBezTo>
                <a:cubicBezTo>
                  <a:pt x="494" y="0"/>
                  <a:pt x="482" y="8"/>
                  <a:pt x="477" y="20"/>
                </a:cubicBezTo>
                <a:cubicBezTo>
                  <a:pt x="476" y="22"/>
                  <a:pt x="476" y="22"/>
                  <a:pt x="476" y="22"/>
                </a:cubicBezTo>
                <a:cubicBezTo>
                  <a:pt x="472" y="35"/>
                  <a:pt x="460" y="42"/>
                  <a:pt x="447" y="42"/>
                </a:cubicBezTo>
                <a:cubicBezTo>
                  <a:pt x="178" y="42"/>
                  <a:pt x="178" y="42"/>
                  <a:pt x="178" y="42"/>
                </a:cubicBezTo>
                <a:cubicBezTo>
                  <a:pt x="165" y="42"/>
                  <a:pt x="153" y="35"/>
                  <a:pt x="148" y="22"/>
                </a:cubicBezTo>
                <a:cubicBezTo>
                  <a:pt x="147" y="20"/>
                  <a:pt x="147" y="20"/>
                  <a:pt x="147" y="20"/>
                </a:cubicBezTo>
                <a:cubicBezTo>
                  <a:pt x="142" y="8"/>
                  <a:pt x="131" y="0"/>
                  <a:pt x="118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45" y="0"/>
                  <a:pt x="28" y="7"/>
                  <a:pt x="17" y="20"/>
                </a:cubicBezTo>
                <a:cubicBezTo>
                  <a:pt x="6" y="31"/>
                  <a:pt x="0" y="46"/>
                  <a:pt x="0" y="62"/>
                </a:cubicBezTo>
                <a:cubicBezTo>
                  <a:pt x="0" y="1210"/>
                  <a:pt x="0" y="1210"/>
                  <a:pt x="0" y="1210"/>
                </a:cubicBezTo>
                <a:cubicBezTo>
                  <a:pt x="0" y="1227"/>
                  <a:pt x="7" y="1243"/>
                  <a:pt x="18" y="1254"/>
                </a:cubicBezTo>
                <a:cubicBezTo>
                  <a:pt x="30" y="1266"/>
                  <a:pt x="46" y="1272"/>
                  <a:pt x="62" y="1272"/>
                </a:cubicBezTo>
                <a:cubicBezTo>
                  <a:pt x="562" y="1272"/>
                  <a:pt x="562" y="1272"/>
                  <a:pt x="562" y="1272"/>
                </a:cubicBezTo>
                <a:cubicBezTo>
                  <a:pt x="597" y="1272"/>
                  <a:pt x="624" y="1245"/>
                  <a:pt x="624" y="1210"/>
                </a:cubicBezTo>
                <a:cubicBezTo>
                  <a:pt x="624" y="62"/>
                  <a:pt x="624" y="62"/>
                  <a:pt x="624" y="62"/>
                </a:cubicBezTo>
                <a:cubicBezTo>
                  <a:pt x="624" y="28"/>
                  <a:pt x="597" y="0"/>
                  <a:pt x="562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30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grpSp>
        <p:nvGrpSpPr>
          <p:cNvPr id="69" name="Группа 184">
            <a:extLst>
              <a:ext uri="{FF2B5EF4-FFF2-40B4-BE49-F238E27FC236}">
                <a16:creationId xmlns:a16="http://schemas.microsoft.com/office/drawing/2014/main" id="{A73DAD4A-6F7E-42DB-992C-0E7C6EF4B200}"/>
              </a:ext>
            </a:extLst>
          </p:cNvPr>
          <p:cNvGrpSpPr/>
          <p:nvPr userDrawn="1"/>
        </p:nvGrpSpPr>
        <p:grpSpPr>
          <a:xfrm>
            <a:off x="5015699" y="465760"/>
            <a:ext cx="2287308" cy="4359594"/>
            <a:chOff x="-3543474" y="-4875029"/>
            <a:chExt cx="3414714" cy="6508770"/>
          </a:xfrm>
          <a:effectLst/>
        </p:grpSpPr>
        <p:sp>
          <p:nvSpPr>
            <p:cNvPr id="70" name="Freeform 5">
              <a:extLst>
                <a:ext uri="{FF2B5EF4-FFF2-40B4-BE49-F238E27FC236}">
                  <a16:creationId xmlns:a16="http://schemas.microsoft.com/office/drawing/2014/main" id="{7F870284-FBEB-4E85-8BDF-759246ED0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9" y="-4875029"/>
              <a:ext cx="3357564" cy="6508770"/>
            </a:xfrm>
            <a:custGeom>
              <a:avLst/>
              <a:gdLst>
                <a:gd name="T0" fmla="*/ 595 w 690"/>
                <a:gd name="T1" fmla="*/ 1338 h 1338"/>
                <a:gd name="T2" fmla="*/ 95 w 690"/>
                <a:gd name="T3" fmla="*/ 1338 h 1338"/>
                <a:gd name="T4" fmla="*/ 0 w 690"/>
                <a:gd name="T5" fmla="*/ 1243 h 1338"/>
                <a:gd name="T6" fmla="*/ 0 w 690"/>
                <a:gd name="T7" fmla="*/ 95 h 1338"/>
                <a:gd name="T8" fmla="*/ 95 w 690"/>
                <a:gd name="T9" fmla="*/ 0 h 1338"/>
                <a:gd name="T10" fmla="*/ 595 w 690"/>
                <a:gd name="T11" fmla="*/ 0 h 1338"/>
                <a:gd name="T12" fmla="*/ 690 w 690"/>
                <a:gd name="T13" fmla="*/ 95 h 1338"/>
                <a:gd name="T14" fmla="*/ 690 w 690"/>
                <a:gd name="T15" fmla="*/ 1243 h 1338"/>
                <a:gd name="T16" fmla="*/ 595 w 690"/>
                <a:gd name="T17" fmla="*/ 1338 h 1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338">
                  <a:moveTo>
                    <a:pt x="595" y="1338"/>
                  </a:moveTo>
                  <a:cubicBezTo>
                    <a:pt x="95" y="1338"/>
                    <a:pt x="95" y="1338"/>
                    <a:pt x="95" y="1338"/>
                  </a:cubicBezTo>
                  <a:cubicBezTo>
                    <a:pt x="43" y="1338"/>
                    <a:pt x="0" y="1296"/>
                    <a:pt x="0" y="1243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42"/>
                    <a:pt x="43" y="0"/>
                    <a:pt x="95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648" y="0"/>
                    <a:pt x="690" y="42"/>
                    <a:pt x="690" y="95"/>
                  </a:cubicBezTo>
                  <a:cubicBezTo>
                    <a:pt x="690" y="1243"/>
                    <a:pt x="690" y="1243"/>
                    <a:pt x="690" y="1243"/>
                  </a:cubicBezTo>
                  <a:cubicBezTo>
                    <a:pt x="690" y="1296"/>
                    <a:pt x="648" y="1338"/>
                    <a:pt x="595" y="133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" name="Freeform 6">
              <a:extLst>
                <a:ext uri="{FF2B5EF4-FFF2-40B4-BE49-F238E27FC236}">
                  <a16:creationId xmlns:a16="http://schemas.microsoft.com/office/drawing/2014/main" id="{BCB16AD3-7571-4CC0-94BE-8326A52A91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56161" y="-4816291"/>
              <a:ext cx="3240089" cy="6391295"/>
            </a:xfrm>
            <a:custGeom>
              <a:avLst/>
              <a:gdLst>
                <a:gd name="T0" fmla="*/ 583 w 666"/>
                <a:gd name="T1" fmla="*/ 1314 h 1314"/>
                <a:gd name="T2" fmla="*/ 83 w 666"/>
                <a:gd name="T3" fmla="*/ 1314 h 1314"/>
                <a:gd name="T4" fmla="*/ 0 w 666"/>
                <a:gd name="T5" fmla="*/ 1231 h 1314"/>
                <a:gd name="T6" fmla="*/ 0 w 666"/>
                <a:gd name="T7" fmla="*/ 83 h 1314"/>
                <a:gd name="T8" fmla="*/ 83 w 666"/>
                <a:gd name="T9" fmla="*/ 0 h 1314"/>
                <a:gd name="T10" fmla="*/ 583 w 666"/>
                <a:gd name="T11" fmla="*/ 0 h 1314"/>
                <a:gd name="T12" fmla="*/ 666 w 666"/>
                <a:gd name="T13" fmla="*/ 83 h 1314"/>
                <a:gd name="T14" fmla="*/ 666 w 666"/>
                <a:gd name="T15" fmla="*/ 1231 h 1314"/>
                <a:gd name="T16" fmla="*/ 583 w 666"/>
                <a:gd name="T17" fmla="*/ 1314 h 1314"/>
                <a:gd name="T18" fmla="*/ 83 w 666"/>
                <a:gd name="T19" fmla="*/ 2 h 1314"/>
                <a:gd name="T20" fmla="*/ 2 w 666"/>
                <a:gd name="T21" fmla="*/ 83 h 1314"/>
                <a:gd name="T22" fmla="*/ 2 w 666"/>
                <a:gd name="T23" fmla="*/ 1231 h 1314"/>
                <a:gd name="T24" fmla="*/ 83 w 666"/>
                <a:gd name="T25" fmla="*/ 1312 h 1314"/>
                <a:gd name="T26" fmla="*/ 583 w 666"/>
                <a:gd name="T27" fmla="*/ 1312 h 1314"/>
                <a:gd name="T28" fmla="*/ 664 w 666"/>
                <a:gd name="T29" fmla="*/ 1231 h 1314"/>
                <a:gd name="T30" fmla="*/ 664 w 666"/>
                <a:gd name="T31" fmla="*/ 83 h 1314"/>
                <a:gd name="T32" fmla="*/ 583 w 666"/>
                <a:gd name="T33" fmla="*/ 2 h 1314"/>
                <a:gd name="T34" fmla="*/ 83 w 666"/>
                <a:gd name="T35" fmla="*/ 2 h 1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6" h="1314">
                  <a:moveTo>
                    <a:pt x="583" y="1314"/>
                  </a:moveTo>
                  <a:cubicBezTo>
                    <a:pt x="83" y="1314"/>
                    <a:pt x="83" y="1314"/>
                    <a:pt x="83" y="1314"/>
                  </a:cubicBezTo>
                  <a:cubicBezTo>
                    <a:pt x="37" y="1314"/>
                    <a:pt x="0" y="1277"/>
                    <a:pt x="0" y="1231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583" y="0"/>
                    <a:pt x="583" y="0"/>
                    <a:pt x="583" y="0"/>
                  </a:cubicBezTo>
                  <a:cubicBezTo>
                    <a:pt x="629" y="0"/>
                    <a:pt x="666" y="37"/>
                    <a:pt x="666" y="83"/>
                  </a:cubicBezTo>
                  <a:cubicBezTo>
                    <a:pt x="666" y="1231"/>
                    <a:pt x="666" y="1231"/>
                    <a:pt x="666" y="1231"/>
                  </a:cubicBezTo>
                  <a:cubicBezTo>
                    <a:pt x="666" y="1277"/>
                    <a:pt x="629" y="1314"/>
                    <a:pt x="583" y="1314"/>
                  </a:cubicBezTo>
                  <a:close/>
                  <a:moveTo>
                    <a:pt x="83" y="2"/>
                  </a:moveTo>
                  <a:cubicBezTo>
                    <a:pt x="38" y="2"/>
                    <a:pt x="2" y="38"/>
                    <a:pt x="2" y="83"/>
                  </a:cubicBezTo>
                  <a:cubicBezTo>
                    <a:pt x="2" y="1231"/>
                    <a:pt x="2" y="1231"/>
                    <a:pt x="2" y="1231"/>
                  </a:cubicBezTo>
                  <a:cubicBezTo>
                    <a:pt x="2" y="1276"/>
                    <a:pt x="38" y="1312"/>
                    <a:pt x="83" y="1312"/>
                  </a:cubicBezTo>
                  <a:cubicBezTo>
                    <a:pt x="583" y="1312"/>
                    <a:pt x="583" y="1312"/>
                    <a:pt x="583" y="1312"/>
                  </a:cubicBezTo>
                  <a:cubicBezTo>
                    <a:pt x="628" y="1312"/>
                    <a:pt x="664" y="1276"/>
                    <a:pt x="664" y="1231"/>
                  </a:cubicBezTo>
                  <a:cubicBezTo>
                    <a:pt x="664" y="83"/>
                    <a:pt x="664" y="83"/>
                    <a:pt x="664" y="83"/>
                  </a:cubicBezTo>
                  <a:cubicBezTo>
                    <a:pt x="664" y="38"/>
                    <a:pt x="628" y="2"/>
                    <a:pt x="583" y="2"/>
                  </a:cubicBezTo>
                  <a:lnTo>
                    <a:pt x="83" y="2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F4D84CCC-C72C-4217-B1D7-DAA9C0610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6" y="-4679765"/>
              <a:ext cx="393700" cy="73025"/>
            </a:xfrm>
            <a:custGeom>
              <a:avLst/>
              <a:gdLst>
                <a:gd name="T0" fmla="*/ 74 w 81"/>
                <a:gd name="T1" fmla="*/ 0 h 15"/>
                <a:gd name="T2" fmla="*/ 7 w 81"/>
                <a:gd name="T3" fmla="*/ 0 h 15"/>
                <a:gd name="T4" fmla="*/ 0 w 81"/>
                <a:gd name="T5" fmla="*/ 7 h 15"/>
                <a:gd name="T6" fmla="*/ 7 w 81"/>
                <a:gd name="T7" fmla="*/ 15 h 15"/>
                <a:gd name="T8" fmla="*/ 74 w 81"/>
                <a:gd name="T9" fmla="*/ 15 h 15"/>
                <a:gd name="T10" fmla="*/ 81 w 81"/>
                <a:gd name="T11" fmla="*/ 7 h 15"/>
                <a:gd name="T12" fmla="*/ 74 w 81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">
                  <a:moveTo>
                    <a:pt x="7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5"/>
                    <a:pt x="7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8" y="15"/>
                    <a:pt x="81" y="11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lose/>
                </a:path>
              </a:pathLst>
            </a:cu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" name="Freeform 9">
              <a:extLst>
                <a:ext uri="{FF2B5EF4-FFF2-40B4-BE49-F238E27FC236}">
                  <a16:creationId xmlns:a16="http://schemas.microsoft.com/office/drawing/2014/main" id="{80BD5B8C-C2E5-4184-BC35-E8AF2262E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4" y="-3463737"/>
              <a:ext cx="28575" cy="388939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" name="Freeform 10">
              <a:extLst>
                <a:ext uri="{FF2B5EF4-FFF2-40B4-BE49-F238E27FC236}">
                  <a16:creationId xmlns:a16="http://schemas.microsoft.com/office/drawing/2014/main" id="{6B809883-9CA8-471C-A49B-40B177699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4" y="-3916176"/>
              <a:ext cx="28575" cy="209551"/>
            </a:xfrm>
            <a:custGeom>
              <a:avLst/>
              <a:gdLst>
                <a:gd name="T0" fmla="*/ 5 w 6"/>
                <a:gd name="T1" fmla="*/ 0 h 43"/>
                <a:gd name="T2" fmla="*/ 0 w 6"/>
                <a:gd name="T3" fmla="*/ 4 h 43"/>
                <a:gd name="T4" fmla="*/ 0 w 6"/>
                <a:gd name="T5" fmla="*/ 39 h 43"/>
                <a:gd name="T6" fmla="*/ 5 w 6"/>
                <a:gd name="T7" fmla="*/ 43 h 43"/>
                <a:gd name="T8" fmla="*/ 6 w 6"/>
                <a:gd name="T9" fmla="*/ 43 h 43"/>
                <a:gd name="T10" fmla="*/ 6 w 6"/>
                <a:gd name="T11" fmla="*/ 0 h 43"/>
                <a:gd name="T12" fmla="*/ 5 w 6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3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2"/>
                    <a:pt x="2" y="43"/>
                    <a:pt x="5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" name="Freeform 11">
              <a:extLst>
                <a:ext uri="{FF2B5EF4-FFF2-40B4-BE49-F238E27FC236}">
                  <a16:creationId xmlns:a16="http://schemas.microsoft.com/office/drawing/2014/main" id="{B04F2FC6-4CE3-44F4-9E51-B4B7EF957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43474" y="-2943035"/>
              <a:ext cx="28575" cy="388939"/>
            </a:xfrm>
            <a:custGeom>
              <a:avLst/>
              <a:gdLst>
                <a:gd name="T0" fmla="*/ 0 w 6"/>
                <a:gd name="T1" fmla="*/ 4 h 80"/>
                <a:gd name="T2" fmla="*/ 0 w 6"/>
                <a:gd name="T3" fmla="*/ 76 h 80"/>
                <a:gd name="T4" fmla="*/ 5 w 6"/>
                <a:gd name="T5" fmla="*/ 80 h 80"/>
                <a:gd name="T6" fmla="*/ 6 w 6"/>
                <a:gd name="T7" fmla="*/ 80 h 80"/>
                <a:gd name="T8" fmla="*/ 6 w 6"/>
                <a:gd name="T9" fmla="*/ 0 h 80"/>
                <a:gd name="T10" fmla="*/ 5 w 6"/>
                <a:gd name="T11" fmla="*/ 0 h 80"/>
                <a:gd name="T12" fmla="*/ 0 w 6"/>
                <a:gd name="T13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0">
                  <a:moveTo>
                    <a:pt x="0" y="4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2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" name="Freeform 12">
              <a:extLst>
                <a:ext uri="{FF2B5EF4-FFF2-40B4-BE49-F238E27FC236}">
                  <a16:creationId xmlns:a16="http://schemas.microsoft.com/office/drawing/2014/main" id="{B4652012-F362-424E-8E48-4C19CC8C3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9" y="1141615"/>
              <a:ext cx="3357564" cy="492126"/>
            </a:xfrm>
            <a:custGeom>
              <a:avLst/>
              <a:gdLst>
                <a:gd name="T0" fmla="*/ 595 w 690"/>
                <a:gd name="T1" fmla="*/ 95 h 101"/>
                <a:gd name="T2" fmla="*/ 95 w 690"/>
                <a:gd name="T3" fmla="*/ 95 h 101"/>
                <a:gd name="T4" fmla="*/ 0 w 690"/>
                <a:gd name="T5" fmla="*/ 0 h 101"/>
                <a:gd name="T6" fmla="*/ 0 w 690"/>
                <a:gd name="T7" fmla="*/ 6 h 101"/>
                <a:gd name="T8" fmla="*/ 95 w 690"/>
                <a:gd name="T9" fmla="*/ 101 h 101"/>
                <a:gd name="T10" fmla="*/ 595 w 690"/>
                <a:gd name="T11" fmla="*/ 101 h 101"/>
                <a:gd name="T12" fmla="*/ 690 w 690"/>
                <a:gd name="T13" fmla="*/ 6 h 101"/>
                <a:gd name="T14" fmla="*/ 690 w 690"/>
                <a:gd name="T15" fmla="*/ 0 h 101"/>
                <a:gd name="T16" fmla="*/ 595 w 690"/>
                <a:gd name="T17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595" y="95"/>
                  </a:moveTo>
                  <a:cubicBezTo>
                    <a:pt x="95" y="95"/>
                    <a:pt x="95" y="95"/>
                    <a:pt x="95" y="95"/>
                  </a:cubicBezTo>
                  <a:cubicBezTo>
                    <a:pt x="43" y="95"/>
                    <a:pt x="0" y="53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9"/>
                    <a:pt x="43" y="101"/>
                    <a:pt x="95" y="101"/>
                  </a:cubicBezTo>
                  <a:cubicBezTo>
                    <a:pt x="595" y="101"/>
                    <a:pt x="595" y="101"/>
                    <a:pt x="595" y="101"/>
                  </a:cubicBezTo>
                  <a:cubicBezTo>
                    <a:pt x="648" y="101"/>
                    <a:pt x="690" y="59"/>
                    <a:pt x="690" y="6"/>
                  </a:cubicBezTo>
                  <a:cubicBezTo>
                    <a:pt x="690" y="0"/>
                    <a:pt x="690" y="0"/>
                    <a:pt x="690" y="0"/>
                  </a:cubicBezTo>
                  <a:cubicBezTo>
                    <a:pt x="690" y="53"/>
                    <a:pt x="648" y="95"/>
                    <a:pt x="595" y="95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" name="Freeform 13">
              <a:extLst>
                <a:ext uri="{FF2B5EF4-FFF2-40B4-BE49-F238E27FC236}">
                  <a16:creationId xmlns:a16="http://schemas.microsoft.com/office/drawing/2014/main" id="{403F3DE0-7711-4553-A00C-DD299EF39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14899" y="-4875029"/>
              <a:ext cx="3357564" cy="492126"/>
            </a:xfrm>
            <a:custGeom>
              <a:avLst/>
              <a:gdLst>
                <a:gd name="T0" fmla="*/ 95 w 690"/>
                <a:gd name="T1" fmla="*/ 6 h 101"/>
                <a:gd name="T2" fmla="*/ 595 w 690"/>
                <a:gd name="T3" fmla="*/ 6 h 101"/>
                <a:gd name="T4" fmla="*/ 690 w 690"/>
                <a:gd name="T5" fmla="*/ 101 h 101"/>
                <a:gd name="T6" fmla="*/ 690 w 690"/>
                <a:gd name="T7" fmla="*/ 95 h 101"/>
                <a:gd name="T8" fmla="*/ 595 w 690"/>
                <a:gd name="T9" fmla="*/ 0 h 101"/>
                <a:gd name="T10" fmla="*/ 95 w 690"/>
                <a:gd name="T11" fmla="*/ 0 h 101"/>
                <a:gd name="T12" fmla="*/ 0 w 690"/>
                <a:gd name="T13" fmla="*/ 95 h 101"/>
                <a:gd name="T14" fmla="*/ 0 w 690"/>
                <a:gd name="T15" fmla="*/ 101 h 101"/>
                <a:gd name="T16" fmla="*/ 95 w 690"/>
                <a:gd name="T17" fmla="*/ 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0" h="101">
                  <a:moveTo>
                    <a:pt x="95" y="6"/>
                  </a:moveTo>
                  <a:cubicBezTo>
                    <a:pt x="595" y="6"/>
                    <a:pt x="595" y="6"/>
                    <a:pt x="595" y="6"/>
                  </a:cubicBezTo>
                  <a:cubicBezTo>
                    <a:pt x="648" y="6"/>
                    <a:pt x="690" y="49"/>
                    <a:pt x="690" y="101"/>
                  </a:cubicBezTo>
                  <a:cubicBezTo>
                    <a:pt x="690" y="95"/>
                    <a:pt x="690" y="95"/>
                    <a:pt x="690" y="95"/>
                  </a:cubicBezTo>
                  <a:cubicBezTo>
                    <a:pt x="690" y="42"/>
                    <a:pt x="648" y="0"/>
                    <a:pt x="5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3" y="0"/>
                    <a:pt x="0" y="42"/>
                    <a:pt x="0" y="9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49"/>
                    <a:pt x="43" y="6"/>
                    <a:pt x="95" y="6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" name="Freeform 14">
              <a:extLst>
                <a:ext uri="{FF2B5EF4-FFF2-40B4-BE49-F238E27FC236}">
                  <a16:creationId xmlns:a16="http://schemas.microsoft.com/office/drawing/2014/main" id="{DDCA2B92-D1F3-4677-B1B8-5BCE215127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30586" y="-4679766"/>
              <a:ext cx="393700" cy="44450"/>
            </a:xfrm>
            <a:custGeom>
              <a:avLst/>
              <a:gdLst>
                <a:gd name="T0" fmla="*/ 7 w 81"/>
                <a:gd name="T1" fmla="*/ 4 h 9"/>
                <a:gd name="T2" fmla="*/ 74 w 81"/>
                <a:gd name="T3" fmla="*/ 4 h 9"/>
                <a:gd name="T4" fmla="*/ 81 w 81"/>
                <a:gd name="T5" fmla="*/ 9 h 9"/>
                <a:gd name="T6" fmla="*/ 81 w 81"/>
                <a:gd name="T7" fmla="*/ 7 h 9"/>
                <a:gd name="T8" fmla="*/ 74 w 81"/>
                <a:gd name="T9" fmla="*/ 0 h 9"/>
                <a:gd name="T10" fmla="*/ 7 w 81"/>
                <a:gd name="T11" fmla="*/ 0 h 9"/>
                <a:gd name="T12" fmla="*/ 0 w 81"/>
                <a:gd name="T13" fmla="*/ 7 h 9"/>
                <a:gd name="T14" fmla="*/ 0 w 81"/>
                <a:gd name="T15" fmla="*/ 9 h 9"/>
                <a:gd name="T16" fmla="*/ 7 w 81"/>
                <a:gd name="T17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9">
                  <a:moveTo>
                    <a:pt x="7" y="4"/>
                  </a:moveTo>
                  <a:cubicBezTo>
                    <a:pt x="74" y="4"/>
                    <a:pt x="74" y="4"/>
                    <a:pt x="74" y="4"/>
                  </a:cubicBezTo>
                  <a:cubicBezTo>
                    <a:pt x="77" y="4"/>
                    <a:pt x="80" y="6"/>
                    <a:pt x="81" y="9"/>
                  </a:cubicBezTo>
                  <a:cubicBezTo>
                    <a:pt x="81" y="9"/>
                    <a:pt x="81" y="8"/>
                    <a:pt x="81" y="7"/>
                  </a:cubicBezTo>
                  <a:cubicBezTo>
                    <a:pt x="81" y="3"/>
                    <a:pt x="78" y="0"/>
                    <a:pt x="7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1" y="6"/>
                    <a:pt x="4" y="4"/>
                    <a:pt x="7" y="4"/>
                  </a:cubicBezTo>
                  <a:close/>
                </a:path>
              </a:pathLst>
            </a:cu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" name="Oval 15">
              <a:extLst>
                <a:ext uri="{FF2B5EF4-FFF2-40B4-BE49-F238E27FC236}">
                  <a16:creationId xmlns:a16="http://schemas.microsoft.com/office/drawing/2014/main" id="{A5B87625-0852-4B02-8D66-B0F655B7BA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14735" y="-4694054"/>
              <a:ext cx="10160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" name="Oval 16">
              <a:extLst>
                <a:ext uri="{FF2B5EF4-FFF2-40B4-BE49-F238E27FC236}">
                  <a16:creationId xmlns:a16="http://schemas.microsoft.com/office/drawing/2014/main" id="{4A9A7993-26E0-4FED-B4B2-B94C5B9685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195686" y="-4675004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" name="Oval 17">
              <a:extLst>
                <a:ext uri="{FF2B5EF4-FFF2-40B4-BE49-F238E27FC236}">
                  <a16:creationId xmlns:a16="http://schemas.microsoft.com/office/drawing/2014/main" id="{68308D50-8F81-4022-8E5C-9BBC7BA308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83024" y="-4714691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" name="Oval 18">
              <a:extLst>
                <a:ext uri="{FF2B5EF4-FFF2-40B4-BE49-F238E27FC236}">
                  <a16:creationId xmlns:a16="http://schemas.microsoft.com/office/drawing/2014/main" id="{5FEAFC20-F747-4510-A4DF-8C55DC16A2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59210" y="-4694054"/>
              <a:ext cx="98425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" name="Oval 19">
              <a:extLst>
                <a:ext uri="{FF2B5EF4-FFF2-40B4-BE49-F238E27FC236}">
                  <a16:creationId xmlns:a16="http://schemas.microsoft.com/office/drawing/2014/main" id="{D4CAD4C0-F3BA-4A4A-9E73-C2FC543951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33810" y="-4670240"/>
              <a:ext cx="47625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" name="Oval 20">
              <a:extLst>
                <a:ext uri="{FF2B5EF4-FFF2-40B4-BE49-F238E27FC236}">
                  <a16:creationId xmlns:a16="http://schemas.microsoft.com/office/drawing/2014/main" id="{BBD7D811-6A31-49FF-ACE0-05D34BECAC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59099" y="-4694054"/>
              <a:ext cx="107950" cy="101600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" name="Oval 21">
              <a:extLst>
                <a:ext uri="{FF2B5EF4-FFF2-40B4-BE49-F238E27FC236}">
                  <a16:creationId xmlns:a16="http://schemas.microsoft.com/office/drawing/2014/main" id="{2C50A87F-800C-48D1-83FC-33A049CBD0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35285" y="-4675004"/>
              <a:ext cx="63500" cy="635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" name="Oval 22">
              <a:extLst>
                <a:ext uri="{FF2B5EF4-FFF2-40B4-BE49-F238E27FC236}">
                  <a16:creationId xmlns:a16="http://schemas.microsoft.com/office/drawing/2014/main" id="{177681EF-E995-4F5A-ADE6-1E0D4A5916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30498" y="-4714691"/>
              <a:ext cx="141288" cy="141288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" name="Oval 23">
              <a:extLst>
                <a:ext uri="{FF2B5EF4-FFF2-40B4-BE49-F238E27FC236}">
                  <a16:creationId xmlns:a16="http://schemas.microsoft.com/office/drawing/2014/main" id="{FBAA2201-7D2A-42B3-8D79-7F9D81E1E8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11448" y="-4694054"/>
              <a:ext cx="103188" cy="101600"/>
            </a:xfrm>
            <a:prstGeom prst="ellipse">
              <a:avLst/>
            </a:prstGeom>
            <a:solidFill>
              <a:srgbClr val="C4C4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" name="Oval 24">
              <a:extLst>
                <a:ext uri="{FF2B5EF4-FFF2-40B4-BE49-F238E27FC236}">
                  <a16:creationId xmlns:a16="http://schemas.microsoft.com/office/drawing/2014/main" id="{2F111A11-F006-407D-9223-0DC37AE096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86048" y="-4670241"/>
              <a:ext cx="52388" cy="53975"/>
            </a:xfrm>
            <a:prstGeom prst="ellipse">
              <a:avLst/>
            </a:prstGeom>
            <a:solidFill>
              <a:srgbClr val="AFAF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" name="Freeform 25">
              <a:extLst>
                <a:ext uri="{FF2B5EF4-FFF2-40B4-BE49-F238E27FC236}">
                  <a16:creationId xmlns:a16="http://schemas.microsoft.com/office/drawing/2014/main" id="{9322A272-C0A9-4E1A-A267-771FFF0D9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4" y="-3916177"/>
              <a:ext cx="9525" cy="209551"/>
            </a:xfrm>
            <a:custGeom>
              <a:avLst/>
              <a:gdLst>
                <a:gd name="T0" fmla="*/ 0 w 2"/>
                <a:gd name="T1" fmla="*/ 0 h 43"/>
                <a:gd name="T2" fmla="*/ 0 w 2"/>
                <a:gd name="T3" fmla="*/ 43 h 43"/>
                <a:gd name="T4" fmla="*/ 1 w 2"/>
                <a:gd name="T5" fmla="*/ 43 h 43"/>
                <a:gd name="T6" fmla="*/ 2 w 2"/>
                <a:gd name="T7" fmla="*/ 43 h 43"/>
                <a:gd name="T8" fmla="*/ 2 w 2"/>
                <a:gd name="T9" fmla="*/ 0 h 43"/>
                <a:gd name="T10" fmla="*/ 1 w 2"/>
                <a:gd name="T11" fmla="*/ 0 h 43"/>
                <a:gd name="T12" fmla="*/ 0 w 2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3">
                  <a:moveTo>
                    <a:pt x="0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1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" name="Freeform 26">
              <a:extLst>
                <a:ext uri="{FF2B5EF4-FFF2-40B4-BE49-F238E27FC236}">
                  <a16:creationId xmlns:a16="http://schemas.microsoft.com/office/drawing/2014/main" id="{155B25F2-F34A-4CA9-9999-187805469EE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4" y="-3463737"/>
              <a:ext cx="9525" cy="388939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1" name="Freeform 27">
              <a:extLst>
                <a:ext uri="{FF2B5EF4-FFF2-40B4-BE49-F238E27FC236}">
                  <a16:creationId xmlns:a16="http://schemas.microsoft.com/office/drawing/2014/main" id="{7E0F33CB-A556-417E-818F-E850CB4B0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4424" y="-2943035"/>
              <a:ext cx="9525" cy="388939"/>
            </a:xfrm>
            <a:custGeom>
              <a:avLst/>
              <a:gdLst>
                <a:gd name="T0" fmla="*/ 0 w 2"/>
                <a:gd name="T1" fmla="*/ 0 h 80"/>
                <a:gd name="T2" fmla="*/ 0 w 2"/>
                <a:gd name="T3" fmla="*/ 80 h 80"/>
                <a:gd name="T4" fmla="*/ 1 w 2"/>
                <a:gd name="T5" fmla="*/ 80 h 80"/>
                <a:gd name="T6" fmla="*/ 2 w 2"/>
                <a:gd name="T7" fmla="*/ 80 h 80"/>
                <a:gd name="T8" fmla="*/ 2 w 2"/>
                <a:gd name="T9" fmla="*/ 0 h 80"/>
                <a:gd name="T10" fmla="*/ 1 w 2"/>
                <a:gd name="T11" fmla="*/ 0 h 80"/>
                <a:gd name="T12" fmla="*/ 0 w 2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0">
                  <a:moveTo>
                    <a:pt x="0" y="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80"/>
                    <a:pt x="1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" name="Freeform 28">
              <a:extLst>
                <a:ext uri="{FF2B5EF4-FFF2-40B4-BE49-F238E27FC236}">
                  <a16:creationId xmlns:a16="http://schemas.microsoft.com/office/drawing/2014/main" id="{B4AD8304-FF25-4C01-A29C-62B44B285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86"/>
              <a:ext cx="28575" cy="787402"/>
            </a:xfrm>
            <a:custGeom>
              <a:avLst/>
              <a:gdLst>
                <a:gd name="T0" fmla="*/ 6 w 6"/>
                <a:gd name="T1" fmla="*/ 158 h 162"/>
                <a:gd name="T2" fmla="*/ 6 w 6"/>
                <a:gd name="T3" fmla="*/ 4 h 162"/>
                <a:gd name="T4" fmla="*/ 2 w 6"/>
                <a:gd name="T5" fmla="*/ 0 h 162"/>
                <a:gd name="T6" fmla="*/ 0 w 6"/>
                <a:gd name="T7" fmla="*/ 0 h 162"/>
                <a:gd name="T8" fmla="*/ 0 w 6"/>
                <a:gd name="T9" fmla="*/ 162 h 162"/>
                <a:gd name="T10" fmla="*/ 2 w 6"/>
                <a:gd name="T11" fmla="*/ 162 h 162"/>
                <a:gd name="T12" fmla="*/ 6 w 6"/>
                <a:gd name="T13" fmla="*/ 15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62">
                  <a:moveTo>
                    <a:pt x="6" y="158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4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2"/>
                    <a:pt x="6" y="160"/>
                    <a:pt x="6" y="158"/>
                  </a:cubicBezTo>
                  <a:close/>
                </a:path>
              </a:pathLst>
            </a:custGeom>
            <a:solidFill>
              <a:srgbClr val="DED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" name="Freeform 29">
              <a:extLst>
                <a:ext uri="{FF2B5EF4-FFF2-40B4-BE49-F238E27FC236}">
                  <a16:creationId xmlns:a16="http://schemas.microsoft.com/office/drawing/2014/main" id="{5B82E5E9-3946-4EFF-8DE7-DE46097A0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335" y="-3089086"/>
              <a:ext cx="9525" cy="787402"/>
            </a:xfrm>
            <a:custGeom>
              <a:avLst/>
              <a:gdLst>
                <a:gd name="T0" fmla="*/ 2 w 2"/>
                <a:gd name="T1" fmla="*/ 162 h 162"/>
                <a:gd name="T2" fmla="*/ 2 w 2"/>
                <a:gd name="T3" fmla="*/ 0 h 162"/>
                <a:gd name="T4" fmla="*/ 2 w 2"/>
                <a:gd name="T5" fmla="*/ 0 h 162"/>
                <a:gd name="T6" fmla="*/ 0 w 2"/>
                <a:gd name="T7" fmla="*/ 0 h 162"/>
                <a:gd name="T8" fmla="*/ 0 w 2"/>
                <a:gd name="T9" fmla="*/ 162 h 162"/>
                <a:gd name="T10" fmla="*/ 2 w 2"/>
                <a:gd name="T11" fmla="*/ 162 h 162"/>
                <a:gd name="T12" fmla="*/ 2 w 2"/>
                <a:gd name="T13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62">
                  <a:moveTo>
                    <a:pt x="2" y="162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2" y="162"/>
                    <a:pt x="2" y="162"/>
                    <a:pt x="2" y="162"/>
                  </a:cubicBezTo>
                  <a:close/>
                </a:path>
              </a:pathLst>
            </a:custGeom>
            <a:solidFill>
              <a:srgbClr val="D3D2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" name="Rectangle 30">
              <a:extLst>
                <a:ext uri="{FF2B5EF4-FFF2-40B4-BE49-F238E27FC236}">
                  <a16:creationId xmlns:a16="http://schemas.microsoft.com/office/drawing/2014/main" id="{1BD3D1AB-5491-4EF6-947D-564E47F342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766964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" name="Rectangle 31">
              <a:extLst>
                <a:ext uri="{FF2B5EF4-FFF2-40B4-BE49-F238E27FC236}">
                  <a16:creationId xmlns:a16="http://schemas.microsoft.com/office/drawing/2014/main" id="{F5E3270B-6F6B-45B0-86EC-29E7A71255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9" y="766963"/>
              <a:ext cx="68263" cy="63500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" name="Rectangle 32">
              <a:extLst>
                <a:ext uri="{FF2B5EF4-FFF2-40B4-BE49-F238E27FC236}">
                  <a16:creationId xmlns:a16="http://schemas.microsoft.com/office/drawing/2014/main" id="{BA362EFC-D4BE-45D1-95C0-2DBD5202A2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5598" y="-4125716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" name="Rectangle 33">
              <a:extLst>
                <a:ext uri="{FF2B5EF4-FFF2-40B4-BE49-F238E27FC236}">
                  <a16:creationId xmlns:a16="http://schemas.microsoft.com/office/drawing/2014/main" id="{917968E5-62E8-478F-9A3C-FAC2FDA2EE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514898" y="-4125714"/>
              <a:ext cx="68263" cy="68263"/>
            </a:xfrm>
            <a:prstGeom prst="rect">
              <a:avLst/>
            </a:pr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98" name="Freeform 7">
            <a:extLst>
              <a:ext uri="{FF2B5EF4-FFF2-40B4-BE49-F238E27FC236}">
                <a16:creationId xmlns:a16="http://schemas.microsoft.com/office/drawing/2014/main" id="{4C7F7092-F2F5-49BD-9BF3-233E4A80C85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 bwMode="auto">
          <a:xfrm>
            <a:off x="5146367" y="573759"/>
            <a:ext cx="2025972" cy="4145321"/>
          </a:xfrm>
          <a:custGeom>
            <a:avLst/>
            <a:gdLst>
              <a:gd name="T0" fmla="*/ 562 w 624"/>
              <a:gd name="T1" fmla="*/ 0 h 1272"/>
              <a:gd name="T2" fmla="*/ 507 w 624"/>
              <a:gd name="T3" fmla="*/ 0 h 1272"/>
              <a:gd name="T4" fmla="*/ 477 w 624"/>
              <a:gd name="T5" fmla="*/ 20 h 1272"/>
              <a:gd name="T6" fmla="*/ 476 w 624"/>
              <a:gd name="T7" fmla="*/ 22 h 1272"/>
              <a:gd name="T8" fmla="*/ 447 w 624"/>
              <a:gd name="T9" fmla="*/ 42 h 1272"/>
              <a:gd name="T10" fmla="*/ 178 w 624"/>
              <a:gd name="T11" fmla="*/ 42 h 1272"/>
              <a:gd name="T12" fmla="*/ 148 w 624"/>
              <a:gd name="T13" fmla="*/ 22 h 1272"/>
              <a:gd name="T14" fmla="*/ 147 w 624"/>
              <a:gd name="T15" fmla="*/ 20 h 1272"/>
              <a:gd name="T16" fmla="*/ 118 w 624"/>
              <a:gd name="T17" fmla="*/ 0 h 1272"/>
              <a:gd name="T18" fmla="*/ 63 w 624"/>
              <a:gd name="T19" fmla="*/ 0 h 1272"/>
              <a:gd name="T20" fmla="*/ 17 w 624"/>
              <a:gd name="T21" fmla="*/ 20 h 1272"/>
              <a:gd name="T22" fmla="*/ 0 w 624"/>
              <a:gd name="T23" fmla="*/ 62 h 1272"/>
              <a:gd name="T24" fmla="*/ 0 w 624"/>
              <a:gd name="T25" fmla="*/ 1210 h 1272"/>
              <a:gd name="T26" fmla="*/ 18 w 624"/>
              <a:gd name="T27" fmla="*/ 1254 h 1272"/>
              <a:gd name="T28" fmla="*/ 62 w 624"/>
              <a:gd name="T29" fmla="*/ 1272 h 1272"/>
              <a:gd name="T30" fmla="*/ 562 w 624"/>
              <a:gd name="T31" fmla="*/ 1272 h 1272"/>
              <a:gd name="T32" fmla="*/ 624 w 624"/>
              <a:gd name="T33" fmla="*/ 1210 h 1272"/>
              <a:gd name="T34" fmla="*/ 624 w 624"/>
              <a:gd name="T35" fmla="*/ 62 h 1272"/>
              <a:gd name="T36" fmla="*/ 562 w 624"/>
              <a:gd name="T37" fmla="*/ 0 h 1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4" h="1272">
                <a:moveTo>
                  <a:pt x="562" y="0"/>
                </a:moveTo>
                <a:cubicBezTo>
                  <a:pt x="507" y="0"/>
                  <a:pt x="507" y="0"/>
                  <a:pt x="507" y="0"/>
                </a:cubicBezTo>
                <a:cubicBezTo>
                  <a:pt x="494" y="0"/>
                  <a:pt x="482" y="8"/>
                  <a:pt x="477" y="20"/>
                </a:cubicBezTo>
                <a:cubicBezTo>
                  <a:pt x="476" y="22"/>
                  <a:pt x="476" y="22"/>
                  <a:pt x="476" y="22"/>
                </a:cubicBezTo>
                <a:cubicBezTo>
                  <a:pt x="472" y="35"/>
                  <a:pt x="460" y="42"/>
                  <a:pt x="447" y="42"/>
                </a:cubicBezTo>
                <a:cubicBezTo>
                  <a:pt x="178" y="42"/>
                  <a:pt x="178" y="42"/>
                  <a:pt x="178" y="42"/>
                </a:cubicBezTo>
                <a:cubicBezTo>
                  <a:pt x="165" y="42"/>
                  <a:pt x="153" y="35"/>
                  <a:pt x="148" y="22"/>
                </a:cubicBezTo>
                <a:cubicBezTo>
                  <a:pt x="147" y="20"/>
                  <a:pt x="147" y="20"/>
                  <a:pt x="147" y="20"/>
                </a:cubicBezTo>
                <a:cubicBezTo>
                  <a:pt x="142" y="8"/>
                  <a:pt x="131" y="0"/>
                  <a:pt x="118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45" y="0"/>
                  <a:pt x="28" y="7"/>
                  <a:pt x="17" y="20"/>
                </a:cubicBezTo>
                <a:cubicBezTo>
                  <a:pt x="6" y="31"/>
                  <a:pt x="0" y="46"/>
                  <a:pt x="0" y="62"/>
                </a:cubicBezTo>
                <a:cubicBezTo>
                  <a:pt x="0" y="1210"/>
                  <a:pt x="0" y="1210"/>
                  <a:pt x="0" y="1210"/>
                </a:cubicBezTo>
                <a:cubicBezTo>
                  <a:pt x="0" y="1227"/>
                  <a:pt x="7" y="1243"/>
                  <a:pt x="18" y="1254"/>
                </a:cubicBezTo>
                <a:cubicBezTo>
                  <a:pt x="30" y="1266"/>
                  <a:pt x="46" y="1272"/>
                  <a:pt x="62" y="1272"/>
                </a:cubicBezTo>
                <a:cubicBezTo>
                  <a:pt x="562" y="1272"/>
                  <a:pt x="562" y="1272"/>
                  <a:pt x="562" y="1272"/>
                </a:cubicBezTo>
                <a:cubicBezTo>
                  <a:pt x="597" y="1272"/>
                  <a:pt x="624" y="1245"/>
                  <a:pt x="624" y="1210"/>
                </a:cubicBezTo>
                <a:cubicBezTo>
                  <a:pt x="624" y="62"/>
                  <a:pt x="624" y="62"/>
                  <a:pt x="624" y="62"/>
                </a:cubicBezTo>
                <a:cubicBezTo>
                  <a:pt x="624" y="28"/>
                  <a:pt x="597" y="0"/>
                  <a:pt x="562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300">
                <a:solidFill>
                  <a:schemeClr val="lt1"/>
                </a:solidFill>
              </a:defRPr>
            </a:lvl1pPr>
          </a:lstStyle>
          <a:p>
            <a:pPr lvl="0"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383309"/>
            <a:ext cx="3132340" cy="360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90527" y="1374774"/>
            <a:ext cx="3131469" cy="29741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030262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34">
            <a:extLst>
              <a:ext uri="{FF2B5EF4-FFF2-40B4-BE49-F238E27FC236}">
                <a16:creationId xmlns:a16="http://schemas.microsoft.com/office/drawing/2014/main" id="{394B3B32-2383-40C3-8C2F-FAE6BEB7DF0E}"/>
              </a:ext>
            </a:extLst>
          </p:cNvPr>
          <p:cNvSpPr/>
          <p:nvPr userDrawn="1"/>
        </p:nvSpPr>
        <p:spPr>
          <a:xfrm flipV="1">
            <a:off x="0" y="0"/>
            <a:ext cx="9144000" cy="1531898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81" tIns="17140" rIns="34281" bIns="17140" rtlCol="0" anchor="ctr"/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383308"/>
            <a:ext cx="3213218" cy="96205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90528" y="1893651"/>
            <a:ext cx="3204257" cy="273192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52" name="Группа 113">
            <a:extLst>
              <a:ext uri="{FF2B5EF4-FFF2-40B4-BE49-F238E27FC236}">
                <a16:creationId xmlns:a16="http://schemas.microsoft.com/office/drawing/2014/main" id="{C4912257-2FF5-4D3C-9F13-AD19C842C63E}"/>
              </a:ext>
            </a:extLst>
          </p:cNvPr>
          <p:cNvGrpSpPr/>
          <p:nvPr userDrawn="1"/>
        </p:nvGrpSpPr>
        <p:grpSpPr>
          <a:xfrm>
            <a:off x="3749937" y="600759"/>
            <a:ext cx="2793154" cy="3939319"/>
            <a:chOff x="858665" y="-6595864"/>
            <a:chExt cx="5972175" cy="8423276"/>
          </a:xfrm>
          <a:effectLst>
            <a:reflection blurRad="50800" stA="50000" endPos="8000" dir="5400000" sy="-100000" algn="bl" rotWithShape="0"/>
          </a:effectLst>
        </p:grpSpPr>
        <p:sp>
          <p:nvSpPr>
            <p:cNvPr id="53" name="Freeform 34">
              <a:extLst>
                <a:ext uri="{FF2B5EF4-FFF2-40B4-BE49-F238E27FC236}">
                  <a16:creationId xmlns:a16="http://schemas.microsoft.com/office/drawing/2014/main" id="{C5BD4CFF-37C1-481B-A120-859600878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002" y="-6567289"/>
              <a:ext cx="5905500" cy="8361363"/>
            </a:xfrm>
            <a:custGeom>
              <a:avLst/>
              <a:gdLst>
                <a:gd name="T0" fmla="*/ 56 w 1214"/>
                <a:gd name="T1" fmla="*/ 1719 h 1719"/>
                <a:gd name="T2" fmla="*/ 0 w 1214"/>
                <a:gd name="T3" fmla="*/ 1663 h 1719"/>
                <a:gd name="T4" fmla="*/ 0 w 1214"/>
                <a:gd name="T5" fmla="*/ 57 h 1719"/>
                <a:gd name="T6" fmla="*/ 56 w 1214"/>
                <a:gd name="T7" fmla="*/ 0 h 1719"/>
                <a:gd name="T8" fmla="*/ 1158 w 1214"/>
                <a:gd name="T9" fmla="*/ 0 h 1719"/>
                <a:gd name="T10" fmla="*/ 1214 w 1214"/>
                <a:gd name="T11" fmla="*/ 57 h 1719"/>
                <a:gd name="T12" fmla="*/ 1214 w 1214"/>
                <a:gd name="T13" fmla="*/ 1663 h 1719"/>
                <a:gd name="T14" fmla="*/ 1158 w 1214"/>
                <a:gd name="T15" fmla="*/ 1719 h 1719"/>
                <a:gd name="T16" fmla="*/ 56 w 1214"/>
                <a:gd name="T17" fmla="*/ 1719 h 1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4" h="1719">
                  <a:moveTo>
                    <a:pt x="56" y="1719"/>
                  </a:moveTo>
                  <a:cubicBezTo>
                    <a:pt x="25" y="1719"/>
                    <a:pt x="0" y="1694"/>
                    <a:pt x="0" y="1663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5" y="0"/>
                    <a:pt x="56" y="0"/>
                  </a:cubicBezTo>
                  <a:cubicBezTo>
                    <a:pt x="1158" y="0"/>
                    <a:pt x="1158" y="0"/>
                    <a:pt x="1158" y="0"/>
                  </a:cubicBezTo>
                  <a:cubicBezTo>
                    <a:pt x="1189" y="0"/>
                    <a:pt x="1214" y="26"/>
                    <a:pt x="1214" y="57"/>
                  </a:cubicBezTo>
                  <a:cubicBezTo>
                    <a:pt x="1214" y="1663"/>
                    <a:pt x="1214" y="1663"/>
                    <a:pt x="1214" y="1663"/>
                  </a:cubicBezTo>
                  <a:cubicBezTo>
                    <a:pt x="1214" y="1694"/>
                    <a:pt x="1189" y="1719"/>
                    <a:pt x="1158" y="1719"/>
                  </a:cubicBezTo>
                  <a:lnTo>
                    <a:pt x="56" y="1719"/>
                  </a:ln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" name="Freeform 35">
              <a:extLst>
                <a:ext uri="{FF2B5EF4-FFF2-40B4-BE49-F238E27FC236}">
                  <a16:creationId xmlns:a16="http://schemas.microsoft.com/office/drawing/2014/main" id="{6CE0A69A-8871-46D7-AEEE-E98D29A605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6765" y="-6557764"/>
              <a:ext cx="5895975" cy="8347075"/>
            </a:xfrm>
            <a:custGeom>
              <a:avLst/>
              <a:gdLst>
                <a:gd name="T0" fmla="*/ 1157 w 1212"/>
                <a:gd name="T1" fmla="*/ 1716 h 1716"/>
                <a:gd name="T2" fmla="*/ 55 w 1212"/>
                <a:gd name="T3" fmla="*/ 1716 h 1716"/>
                <a:gd name="T4" fmla="*/ 0 w 1212"/>
                <a:gd name="T5" fmla="*/ 1661 h 1716"/>
                <a:gd name="T6" fmla="*/ 0 w 1212"/>
                <a:gd name="T7" fmla="*/ 55 h 1716"/>
                <a:gd name="T8" fmla="*/ 55 w 1212"/>
                <a:gd name="T9" fmla="*/ 0 h 1716"/>
                <a:gd name="T10" fmla="*/ 1157 w 1212"/>
                <a:gd name="T11" fmla="*/ 0 h 1716"/>
                <a:gd name="T12" fmla="*/ 1212 w 1212"/>
                <a:gd name="T13" fmla="*/ 55 h 1716"/>
                <a:gd name="T14" fmla="*/ 1212 w 1212"/>
                <a:gd name="T15" fmla="*/ 1661 h 1716"/>
                <a:gd name="T16" fmla="*/ 1157 w 1212"/>
                <a:gd name="T17" fmla="*/ 1716 h 1716"/>
                <a:gd name="T18" fmla="*/ 55 w 1212"/>
                <a:gd name="T19" fmla="*/ 0 h 1716"/>
                <a:gd name="T20" fmla="*/ 1 w 1212"/>
                <a:gd name="T21" fmla="*/ 55 h 1716"/>
                <a:gd name="T22" fmla="*/ 1 w 1212"/>
                <a:gd name="T23" fmla="*/ 1661 h 1716"/>
                <a:gd name="T24" fmla="*/ 55 w 1212"/>
                <a:gd name="T25" fmla="*/ 1715 h 1716"/>
                <a:gd name="T26" fmla="*/ 1157 w 1212"/>
                <a:gd name="T27" fmla="*/ 1715 h 1716"/>
                <a:gd name="T28" fmla="*/ 1211 w 1212"/>
                <a:gd name="T29" fmla="*/ 1661 h 1716"/>
                <a:gd name="T30" fmla="*/ 1211 w 1212"/>
                <a:gd name="T31" fmla="*/ 55 h 1716"/>
                <a:gd name="T32" fmla="*/ 1157 w 1212"/>
                <a:gd name="T33" fmla="*/ 0 h 1716"/>
                <a:gd name="T34" fmla="*/ 55 w 1212"/>
                <a:gd name="T35" fmla="*/ 0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12" h="1716">
                  <a:moveTo>
                    <a:pt x="1157" y="1716"/>
                  </a:moveTo>
                  <a:cubicBezTo>
                    <a:pt x="55" y="1716"/>
                    <a:pt x="55" y="1716"/>
                    <a:pt x="55" y="1716"/>
                  </a:cubicBezTo>
                  <a:cubicBezTo>
                    <a:pt x="25" y="1716"/>
                    <a:pt x="0" y="1691"/>
                    <a:pt x="0" y="1661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24"/>
                    <a:pt x="25" y="0"/>
                    <a:pt x="55" y="0"/>
                  </a:cubicBezTo>
                  <a:cubicBezTo>
                    <a:pt x="1157" y="0"/>
                    <a:pt x="1157" y="0"/>
                    <a:pt x="1157" y="0"/>
                  </a:cubicBezTo>
                  <a:cubicBezTo>
                    <a:pt x="1187" y="0"/>
                    <a:pt x="1212" y="24"/>
                    <a:pt x="1212" y="55"/>
                  </a:cubicBezTo>
                  <a:cubicBezTo>
                    <a:pt x="1212" y="1661"/>
                    <a:pt x="1212" y="1661"/>
                    <a:pt x="1212" y="1661"/>
                  </a:cubicBezTo>
                  <a:cubicBezTo>
                    <a:pt x="1212" y="1691"/>
                    <a:pt x="1187" y="1716"/>
                    <a:pt x="1157" y="1716"/>
                  </a:cubicBezTo>
                  <a:close/>
                  <a:moveTo>
                    <a:pt x="55" y="0"/>
                  </a:moveTo>
                  <a:cubicBezTo>
                    <a:pt x="25" y="0"/>
                    <a:pt x="1" y="25"/>
                    <a:pt x="1" y="55"/>
                  </a:cubicBezTo>
                  <a:cubicBezTo>
                    <a:pt x="1" y="1661"/>
                    <a:pt x="1" y="1661"/>
                    <a:pt x="1" y="1661"/>
                  </a:cubicBezTo>
                  <a:cubicBezTo>
                    <a:pt x="1" y="1691"/>
                    <a:pt x="25" y="1715"/>
                    <a:pt x="55" y="1715"/>
                  </a:cubicBezTo>
                  <a:cubicBezTo>
                    <a:pt x="1157" y="1715"/>
                    <a:pt x="1157" y="1715"/>
                    <a:pt x="1157" y="1715"/>
                  </a:cubicBezTo>
                  <a:cubicBezTo>
                    <a:pt x="1187" y="1715"/>
                    <a:pt x="1211" y="1691"/>
                    <a:pt x="1211" y="1661"/>
                  </a:cubicBezTo>
                  <a:cubicBezTo>
                    <a:pt x="1211" y="55"/>
                    <a:pt x="1211" y="55"/>
                    <a:pt x="1211" y="55"/>
                  </a:cubicBezTo>
                  <a:cubicBezTo>
                    <a:pt x="1211" y="25"/>
                    <a:pt x="1187" y="0"/>
                    <a:pt x="1157" y="0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" name="Freeform 36">
              <a:extLst>
                <a:ext uri="{FF2B5EF4-FFF2-40B4-BE49-F238E27FC236}">
                  <a16:creationId xmlns:a16="http://schemas.microsoft.com/office/drawing/2014/main" id="{2D72861E-7C7A-4DDA-BC13-1C1488D777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8665" y="-6595864"/>
              <a:ext cx="5972175" cy="8423275"/>
            </a:xfrm>
            <a:custGeom>
              <a:avLst/>
              <a:gdLst>
                <a:gd name="T0" fmla="*/ 1165 w 1228"/>
                <a:gd name="T1" fmla="*/ 0 h 1732"/>
                <a:gd name="T2" fmla="*/ 63 w 1228"/>
                <a:gd name="T3" fmla="*/ 0 h 1732"/>
                <a:gd name="T4" fmla="*/ 0 w 1228"/>
                <a:gd name="T5" fmla="*/ 63 h 1732"/>
                <a:gd name="T6" fmla="*/ 0 w 1228"/>
                <a:gd name="T7" fmla="*/ 1669 h 1732"/>
                <a:gd name="T8" fmla="*/ 63 w 1228"/>
                <a:gd name="T9" fmla="*/ 1732 h 1732"/>
                <a:gd name="T10" fmla="*/ 1165 w 1228"/>
                <a:gd name="T11" fmla="*/ 1732 h 1732"/>
                <a:gd name="T12" fmla="*/ 1228 w 1228"/>
                <a:gd name="T13" fmla="*/ 1669 h 1732"/>
                <a:gd name="T14" fmla="*/ 1228 w 1228"/>
                <a:gd name="T15" fmla="*/ 63 h 1732"/>
                <a:gd name="T16" fmla="*/ 1165 w 1228"/>
                <a:gd name="T17" fmla="*/ 0 h 1732"/>
                <a:gd name="T18" fmla="*/ 1221 w 1228"/>
                <a:gd name="T19" fmla="*/ 1669 h 1732"/>
                <a:gd name="T20" fmla="*/ 1165 w 1228"/>
                <a:gd name="T21" fmla="*/ 1725 h 1732"/>
                <a:gd name="T22" fmla="*/ 63 w 1228"/>
                <a:gd name="T23" fmla="*/ 1725 h 1732"/>
                <a:gd name="T24" fmla="*/ 7 w 1228"/>
                <a:gd name="T25" fmla="*/ 1669 h 1732"/>
                <a:gd name="T26" fmla="*/ 7 w 1228"/>
                <a:gd name="T27" fmla="*/ 63 h 1732"/>
                <a:gd name="T28" fmla="*/ 63 w 1228"/>
                <a:gd name="T29" fmla="*/ 6 h 1732"/>
                <a:gd name="T30" fmla="*/ 1165 w 1228"/>
                <a:gd name="T31" fmla="*/ 6 h 1732"/>
                <a:gd name="T32" fmla="*/ 1221 w 1228"/>
                <a:gd name="T33" fmla="*/ 63 h 1732"/>
                <a:gd name="T34" fmla="*/ 1221 w 1228"/>
                <a:gd name="T35" fmla="*/ 1669 h 1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8" h="1732">
                  <a:moveTo>
                    <a:pt x="1165" y="0"/>
                  </a:move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1669"/>
                    <a:pt x="0" y="1669"/>
                    <a:pt x="0" y="1669"/>
                  </a:cubicBezTo>
                  <a:cubicBezTo>
                    <a:pt x="0" y="1703"/>
                    <a:pt x="28" y="1732"/>
                    <a:pt x="63" y="1732"/>
                  </a:cubicBezTo>
                  <a:cubicBezTo>
                    <a:pt x="1165" y="1732"/>
                    <a:pt x="1165" y="1732"/>
                    <a:pt x="1165" y="1732"/>
                  </a:cubicBezTo>
                  <a:cubicBezTo>
                    <a:pt x="1200" y="1732"/>
                    <a:pt x="1228" y="1703"/>
                    <a:pt x="1228" y="1669"/>
                  </a:cubicBezTo>
                  <a:cubicBezTo>
                    <a:pt x="1228" y="63"/>
                    <a:pt x="1228" y="63"/>
                    <a:pt x="1228" y="63"/>
                  </a:cubicBezTo>
                  <a:cubicBezTo>
                    <a:pt x="1228" y="28"/>
                    <a:pt x="1200" y="0"/>
                    <a:pt x="1165" y="0"/>
                  </a:cubicBezTo>
                  <a:close/>
                  <a:moveTo>
                    <a:pt x="1221" y="1669"/>
                  </a:moveTo>
                  <a:cubicBezTo>
                    <a:pt x="1221" y="1700"/>
                    <a:pt x="1196" y="1725"/>
                    <a:pt x="1165" y="1725"/>
                  </a:cubicBezTo>
                  <a:cubicBezTo>
                    <a:pt x="63" y="1725"/>
                    <a:pt x="63" y="1725"/>
                    <a:pt x="63" y="1725"/>
                  </a:cubicBezTo>
                  <a:cubicBezTo>
                    <a:pt x="32" y="1725"/>
                    <a:pt x="7" y="1700"/>
                    <a:pt x="7" y="1669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7" y="32"/>
                    <a:pt x="32" y="6"/>
                    <a:pt x="63" y="6"/>
                  </a:cubicBezTo>
                  <a:cubicBezTo>
                    <a:pt x="1165" y="6"/>
                    <a:pt x="1165" y="6"/>
                    <a:pt x="1165" y="6"/>
                  </a:cubicBezTo>
                  <a:cubicBezTo>
                    <a:pt x="1196" y="6"/>
                    <a:pt x="1221" y="32"/>
                    <a:pt x="1221" y="63"/>
                  </a:cubicBezTo>
                  <a:lnTo>
                    <a:pt x="1221" y="1669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" name="Freeform 37">
              <a:extLst>
                <a:ext uri="{FF2B5EF4-FFF2-40B4-BE49-F238E27FC236}">
                  <a16:creationId xmlns:a16="http://schemas.microsoft.com/office/drawing/2014/main" id="{1AD0090A-182B-4C76-9FD2-74195ED2BF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077" y="1278136"/>
              <a:ext cx="388938" cy="346075"/>
            </a:xfrm>
            <a:custGeom>
              <a:avLst/>
              <a:gdLst>
                <a:gd name="T0" fmla="*/ 1 w 80"/>
                <a:gd name="T1" fmla="*/ 42 h 71"/>
                <a:gd name="T2" fmla="*/ 41 w 80"/>
                <a:gd name="T3" fmla="*/ 2 h 71"/>
                <a:gd name="T4" fmla="*/ 80 w 80"/>
                <a:gd name="T5" fmla="*/ 41 h 71"/>
                <a:gd name="T6" fmla="*/ 80 w 80"/>
                <a:gd name="T7" fmla="*/ 40 h 71"/>
                <a:gd name="T8" fmla="*/ 40 w 80"/>
                <a:gd name="T9" fmla="*/ 0 h 71"/>
                <a:gd name="T10" fmla="*/ 0 w 80"/>
                <a:gd name="T11" fmla="*/ 40 h 71"/>
                <a:gd name="T12" fmla="*/ 15 w 80"/>
                <a:gd name="T13" fmla="*/ 71 h 71"/>
                <a:gd name="T14" fmla="*/ 1 w 80"/>
                <a:gd name="T15" fmla="*/ 4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71">
                  <a:moveTo>
                    <a:pt x="1" y="42"/>
                  </a:moveTo>
                  <a:cubicBezTo>
                    <a:pt x="1" y="20"/>
                    <a:pt x="19" y="2"/>
                    <a:pt x="41" y="2"/>
                  </a:cubicBezTo>
                  <a:cubicBezTo>
                    <a:pt x="62" y="2"/>
                    <a:pt x="80" y="19"/>
                    <a:pt x="80" y="41"/>
                  </a:cubicBezTo>
                  <a:cubicBezTo>
                    <a:pt x="80" y="41"/>
                    <a:pt x="80" y="40"/>
                    <a:pt x="80" y="40"/>
                  </a:cubicBezTo>
                  <a:cubicBezTo>
                    <a:pt x="80" y="18"/>
                    <a:pt x="62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3"/>
                    <a:pt x="6" y="64"/>
                    <a:pt x="15" y="71"/>
                  </a:cubicBezTo>
                  <a:cubicBezTo>
                    <a:pt x="6" y="64"/>
                    <a:pt x="1" y="53"/>
                    <a:pt x="1" y="42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" name="Freeform 38">
              <a:extLst>
                <a:ext uri="{FF2B5EF4-FFF2-40B4-BE49-F238E27FC236}">
                  <a16:creationId xmlns:a16="http://schemas.microsoft.com/office/drawing/2014/main" id="{BC2E1EF4-85B1-4761-B5C9-7D02E138C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5365" y="1341636"/>
              <a:ext cx="369888" cy="330200"/>
            </a:xfrm>
            <a:custGeom>
              <a:avLst/>
              <a:gdLst>
                <a:gd name="T0" fmla="*/ 75 w 76"/>
                <a:gd name="T1" fmla="*/ 28 h 68"/>
                <a:gd name="T2" fmla="*/ 37 w 76"/>
                <a:gd name="T3" fmla="*/ 66 h 68"/>
                <a:gd name="T4" fmla="*/ 0 w 76"/>
                <a:gd name="T5" fmla="*/ 29 h 68"/>
                <a:gd name="T6" fmla="*/ 0 w 76"/>
                <a:gd name="T7" fmla="*/ 30 h 68"/>
                <a:gd name="T8" fmla="*/ 38 w 76"/>
                <a:gd name="T9" fmla="*/ 68 h 68"/>
                <a:gd name="T10" fmla="*/ 76 w 76"/>
                <a:gd name="T11" fmla="*/ 30 h 68"/>
                <a:gd name="T12" fmla="*/ 62 w 76"/>
                <a:gd name="T13" fmla="*/ 0 h 68"/>
                <a:gd name="T14" fmla="*/ 75 w 76"/>
                <a:gd name="T15" fmla="*/ 2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68">
                  <a:moveTo>
                    <a:pt x="75" y="28"/>
                  </a:moveTo>
                  <a:cubicBezTo>
                    <a:pt x="75" y="49"/>
                    <a:pt x="58" y="66"/>
                    <a:pt x="37" y="66"/>
                  </a:cubicBezTo>
                  <a:cubicBezTo>
                    <a:pt x="17" y="66"/>
                    <a:pt x="0" y="50"/>
                    <a:pt x="0" y="29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51"/>
                    <a:pt x="17" y="68"/>
                    <a:pt x="38" y="68"/>
                  </a:cubicBezTo>
                  <a:cubicBezTo>
                    <a:pt x="59" y="68"/>
                    <a:pt x="76" y="51"/>
                    <a:pt x="76" y="30"/>
                  </a:cubicBezTo>
                  <a:cubicBezTo>
                    <a:pt x="76" y="18"/>
                    <a:pt x="71" y="7"/>
                    <a:pt x="62" y="0"/>
                  </a:cubicBezTo>
                  <a:cubicBezTo>
                    <a:pt x="70" y="7"/>
                    <a:pt x="75" y="17"/>
                    <a:pt x="75" y="28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" name="Oval 39">
              <a:extLst>
                <a:ext uri="{FF2B5EF4-FFF2-40B4-BE49-F238E27FC236}">
                  <a16:creationId xmlns:a16="http://schemas.microsoft.com/office/drawing/2014/main" id="{0665C39F-9BFC-4DAC-85E4-C6B14B37F5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5365" y="1292424"/>
              <a:ext cx="369888" cy="365125"/>
            </a:xfrm>
            <a:prstGeom prst="ellipse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" name="Oval 40">
              <a:extLst>
                <a:ext uri="{FF2B5EF4-FFF2-40B4-BE49-F238E27FC236}">
                  <a16:creationId xmlns:a16="http://schemas.microsoft.com/office/drawing/2014/main" id="{304B3003-459F-40E4-8A92-4CDBC7325C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6015" y="-6324401"/>
              <a:ext cx="117475" cy="112713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" name="Oval 41">
              <a:extLst>
                <a:ext uri="{FF2B5EF4-FFF2-40B4-BE49-F238E27FC236}">
                  <a16:creationId xmlns:a16="http://schemas.microsoft.com/office/drawing/2014/main" id="{7E20D0EC-D916-4C39-82B9-9687B6D8DD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1415" y="-6303764"/>
              <a:ext cx="68263" cy="73025"/>
            </a:xfrm>
            <a:prstGeom prst="ellipse">
              <a:avLst/>
            </a:prstGeom>
            <a:solidFill>
              <a:srgbClr val="838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" name="Rectangle 42">
              <a:extLst>
                <a:ext uri="{FF2B5EF4-FFF2-40B4-BE49-F238E27FC236}">
                  <a16:creationId xmlns:a16="http://schemas.microsoft.com/office/drawing/2014/main" id="{E66642F0-CFFF-412D-ABE6-901A008D3B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3152" y="-5914826"/>
              <a:ext cx="5283200" cy="7067550"/>
            </a:xfrm>
            <a:prstGeom prst="rect">
              <a:avLst/>
            </a:prstGeom>
            <a:solidFill>
              <a:srgbClr val="619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" name="Freeform 43">
              <a:extLst>
                <a:ext uri="{FF2B5EF4-FFF2-40B4-BE49-F238E27FC236}">
                  <a16:creationId xmlns:a16="http://schemas.microsoft.com/office/drawing/2014/main" id="{410762F2-33DD-4B4B-B6A2-8153B1C65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665" y="-6595864"/>
              <a:ext cx="5972175" cy="3014663"/>
            </a:xfrm>
            <a:custGeom>
              <a:avLst/>
              <a:gdLst>
                <a:gd name="T0" fmla="*/ 1165 w 1228"/>
                <a:gd name="T1" fmla="*/ 0 h 620"/>
                <a:gd name="T2" fmla="*/ 63 w 1228"/>
                <a:gd name="T3" fmla="*/ 0 h 620"/>
                <a:gd name="T4" fmla="*/ 0 w 1228"/>
                <a:gd name="T5" fmla="*/ 63 h 620"/>
                <a:gd name="T6" fmla="*/ 0 w 1228"/>
                <a:gd name="T7" fmla="*/ 620 h 620"/>
                <a:gd name="T8" fmla="*/ 7 w 1228"/>
                <a:gd name="T9" fmla="*/ 63 h 620"/>
                <a:gd name="T10" fmla="*/ 63 w 1228"/>
                <a:gd name="T11" fmla="*/ 6 h 620"/>
                <a:gd name="T12" fmla="*/ 1165 w 1228"/>
                <a:gd name="T13" fmla="*/ 6 h 620"/>
                <a:gd name="T14" fmla="*/ 1221 w 1228"/>
                <a:gd name="T15" fmla="*/ 63 h 620"/>
                <a:gd name="T16" fmla="*/ 1228 w 1228"/>
                <a:gd name="T17" fmla="*/ 620 h 620"/>
                <a:gd name="T18" fmla="*/ 1228 w 1228"/>
                <a:gd name="T19" fmla="*/ 63 h 620"/>
                <a:gd name="T20" fmla="*/ 1165 w 1228"/>
                <a:gd name="T21" fmla="*/ 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8" h="620">
                  <a:moveTo>
                    <a:pt x="1165" y="0"/>
                  </a:move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620"/>
                    <a:pt x="0" y="620"/>
                    <a:pt x="0" y="620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7" y="32"/>
                    <a:pt x="32" y="6"/>
                    <a:pt x="63" y="6"/>
                  </a:cubicBezTo>
                  <a:cubicBezTo>
                    <a:pt x="1165" y="6"/>
                    <a:pt x="1165" y="6"/>
                    <a:pt x="1165" y="6"/>
                  </a:cubicBezTo>
                  <a:cubicBezTo>
                    <a:pt x="1196" y="6"/>
                    <a:pt x="1221" y="32"/>
                    <a:pt x="1221" y="63"/>
                  </a:cubicBezTo>
                  <a:cubicBezTo>
                    <a:pt x="1228" y="620"/>
                    <a:pt x="1228" y="620"/>
                    <a:pt x="1228" y="620"/>
                  </a:cubicBezTo>
                  <a:cubicBezTo>
                    <a:pt x="1228" y="63"/>
                    <a:pt x="1228" y="63"/>
                    <a:pt x="1228" y="63"/>
                  </a:cubicBezTo>
                  <a:cubicBezTo>
                    <a:pt x="1228" y="28"/>
                    <a:pt x="1200" y="0"/>
                    <a:pt x="1165" y="0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" name="Freeform 44">
              <a:extLst>
                <a:ext uri="{FF2B5EF4-FFF2-40B4-BE49-F238E27FC236}">
                  <a16:creationId xmlns:a16="http://schemas.microsoft.com/office/drawing/2014/main" id="{CAFB2F98-D4D1-4F98-87CC-B291213FA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665" y="-1187251"/>
              <a:ext cx="5972175" cy="3014663"/>
            </a:xfrm>
            <a:custGeom>
              <a:avLst/>
              <a:gdLst>
                <a:gd name="T0" fmla="*/ 1221 w 1228"/>
                <a:gd name="T1" fmla="*/ 557 h 620"/>
                <a:gd name="T2" fmla="*/ 1165 w 1228"/>
                <a:gd name="T3" fmla="*/ 613 h 620"/>
                <a:gd name="T4" fmla="*/ 63 w 1228"/>
                <a:gd name="T5" fmla="*/ 613 h 620"/>
                <a:gd name="T6" fmla="*/ 7 w 1228"/>
                <a:gd name="T7" fmla="*/ 557 h 620"/>
                <a:gd name="T8" fmla="*/ 0 w 1228"/>
                <a:gd name="T9" fmla="*/ 0 h 620"/>
                <a:gd name="T10" fmla="*/ 0 w 1228"/>
                <a:gd name="T11" fmla="*/ 557 h 620"/>
                <a:gd name="T12" fmla="*/ 63 w 1228"/>
                <a:gd name="T13" fmla="*/ 620 h 620"/>
                <a:gd name="T14" fmla="*/ 1165 w 1228"/>
                <a:gd name="T15" fmla="*/ 620 h 620"/>
                <a:gd name="T16" fmla="*/ 1228 w 1228"/>
                <a:gd name="T17" fmla="*/ 557 h 620"/>
                <a:gd name="T18" fmla="*/ 1228 w 1228"/>
                <a:gd name="T19" fmla="*/ 0 h 620"/>
                <a:gd name="T20" fmla="*/ 1221 w 1228"/>
                <a:gd name="T21" fmla="*/ 557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8" h="620">
                  <a:moveTo>
                    <a:pt x="1221" y="557"/>
                  </a:moveTo>
                  <a:cubicBezTo>
                    <a:pt x="1221" y="588"/>
                    <a:pt x="1196" y="613"/>
                    <a:pt x="1165" y="613"/>
                  </a:cubicBezTo>
                  <a:cubicBezTo>
                    <a:pt x="63" y="613"/>
                    <a:pt x="63" y="613"/>
                    <a:pt x="63" y="613"/>
                  </a:cubicBezTo>
                  <a:cubicBezTo>
                    <a:pt x="32" y="613"/>
                    <a:pt x="7" y="588"/>
                    <a:pt x="7" y="55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57"/>
                    <a:pt x="0" y="557"/>
                    <a:pt x="0" y="557"/>
                  </a:cubicBezTo>
                  <a:cubicBezTo>
                    <a:pt x="0" y="591"/>
                    <a:pt x="28" y="620"/>
                    <a:pt x="63" y="620"/>
                  </a:cubicBezTo>
                  <a:cubicBezTo>
                    <a:pt x="1165" y="620"/>
                    <a:pt x="1165" y="620"/>
                    <a:pt x="1165" y="620"/>
                  </a:cubicBezTo>
                  <a:cubicBezTo>
                    <a:pt x="1200" y="620"/>
                    <a:pt x="1228" y="591"/>
                    <a:pt x="1228" y="557"/>
                  </a:cubicBezTo>
                  <a:cubicBezTo>
                    <a:pt x="1228" y="0"/>
                    <a:pt x="1228" y="0"/>
                    <a:pt x="1228" y="0"/>
                  </a:cubicBezTo>
                  <a:lnTo>
                    <a:pt x="1221" y="557"/>
                  </a:ln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64" name="Рисунок 21">
            <a:extLst>
              <a:ext uri="{FF2B5EF4-FFF2-40B4-BE49-F238E27FC236}">
                <a16:creationId xmlns:a16="http://schemas.microsoft.com/office/drawing/2014/main" id="{92638155-1F68-4422-A43E-8C234CAF062C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896969" y="907569"/>
            <a:ext cx="2473151" cy="3311173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3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5804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34">
            <a:extLst>
              <a:ext uri="{FF2B5EF4-FFF2-40B4-BE49-F238E27FC236}">
                <a16:creationId xmlns:a16="http://schemas.microsoft.com/office/drawing/2014/main" id="{394B3B32-2383-40C3-8C2F-FAE6BEB7DF0E}"/>
              </a:ext>
            </a:extLst>
          </p:cNvPr>
          <p:cNvSpPr/>
          <p:nvPr userDrawn="1"/>
        </p:nvSpPr>
        <p:spPr>
          <a:xfrm flipV="1">
            <a:off x="0" y="0"/>
            <a:ext cx="9144000" cy="15318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81" tIns="17140" rIns="34281" bIns="17140" rtlCol="0" anchor="ctr"/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7" y="383308"/>
            <a:ext cx="3240743" cy="962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90528" y="1893651"/>
            <a:ext cx="3231705" cy="273192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9" name="Slide Number Placeholder 3">
            <a:extLst>
              <a:ext uri="{FF2B5EF4-FFF2-40B4-BE49-F238E27FC236}">
                <a16:creationId xmlns:a16="http://schemas.microsoft.com/office/drawing/2014/main" id="{4717F0CA-0CA4-48ED-95AB-6C85B1C29D96}"/>
              </a:ext>
            </a:extLst>
          </p:cNvPr>
          <p:cNvSpPr txBox="1">
            <a:spLocks/>
          </p:cNvSpPr>
          <p:nvPr userDrawn="1"/>
        </p:nvSpPr>
        <p:spPr>
          <a:xfrm>
            <a:off x="8288339" y="4877568"/>
            <a:ext cx="468000" cy="135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fi-FI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0" name="Группа 113">
            <a:extLst>
              <a:ext uri="{FF2B5EF4-FFF2-40B4-BE49-F238E27FC236}">
                <a16:creationId xmlns:a16="http://schemas.microsoft.com/office/drawing/2014/main" id="{50927432-459C-4785-B31A-5AF87FD59B9D}"/>
              </a:ext>
            </a:extLst>
          </p:cNvPr>
          <p:cNvGrpSpPr/>
          <p:nvPr userDrawn="1"/>
        </p:nvGrpSpPr>
        <p:grpSpPr>
          <a:xfrm>
            <a:off x="3749937" y="600759"/>
            <a:ext cx="2793154" cy="3939319"/>
            <a:chOff x="858665" y="-6595864"/>
            <a:chExt cx="5972175" cy="8423276"/>
          </a:xfrm>
          <a:effectLst>
            <a:reflection blurRad="50800" stA="50000" endPos="8000" dir="5400000" sy="-100000" algn="bl" rotWithShape="0"/>
          </a:effectLst>
        </p:grpSpPr>
        <p:sp>
          <p:nvSpPr>
            <p:cNvPr id="21" name="Freeform 34">
              <a:extLst>
                <a:ext uri="{FF2B5EF4-FFF2-40B4-BE49-F238E27FC236}">
                  <a16:creationId xmlns:a16="http://schemas.microsoft.com/office/drawing/2014/main" id="{090B1CC6-AD2E-4612-852C-414F483A8F4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002" y="-6567289"/>
              <a:ext cx="5905500" cy="8361363"/>
            </a:xfrm>
            <a:custGeom>
              <a:avLst/>
              <a:gdLst>
                <a:gd name="T0" fmla="*/ 56 w 1214"/>
                <a:gd name="T1" fmla="*/ 1719 h 1719"/>
                <a:gd name="T2" fmla="*/ 0 w 1214"/>
                <a:gd name="T3" fmla="*/ 1663 h 1719"/>
                <a:gd name="T4" fmla="*/ 0 w 1214"/>
                <a:gd name="T5" fmla="*/ 57 h 1719"/>
                <a:gd name="T6" fmla="*/ 56 w 1214"/>
                <a:gd name="T7" fmla="*/ 0 h 1719"/>
                <a:gd name="T8" fmla="*/ 1158 w 1214"/>
                <a:gd name="T9" fmla="*/ 0 h 1719"/>
                <a:gd name="T10" fmla="*/ 1214 w 1214"/>
                <a:gd name="T11" fmla="*/ 57 h 1719"/>
                <a:gd name="T12" fmla="*/ 1214 w 1214"/>
                <a:gd name="T13" fmla="*/ 1663 h 1719"/>
                <a:gd name="T14" fmla="*/ 1158 w 1214"/>
                <a:gd name="T15" fmla="*/ 1719 h 1719"/>
                <a:gd name="T16" fmla="*/ 56 w 1214"/>
                <a:gd name="T17" fmla="*/ 1719 h 1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4" h="1719">
                  <a:moveTo>
                    <a:pt x="56" y="1719"/>
                  </a:moveTo>
                  <a:cubicBezTo>
                    <a:pt x="25" y="1719"/>
                    <a:pt x="0" y="1694"/>
                    <a:pt x="0" y="1663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5" y="0"/>
                    <a:pt x="56" y="0"/>
                  </a:cubicBezTo>
                  <a:cubicBezTo>
                    <a:pt x="1158" y="0"/>
                    <a:pt x="1158" y="0"/>
                    <a:pt x="1158" y="0"/>
                  </a:cubicBezTo>
                  <a:cubicBezTo>
                    <a:pt x="1189" y="0"/>
                    <a:pt x="1214" y="26"/>
                    <a:pt x="1214" y="57"/>
                  </a:cubicBezTo>
                  <a:cubicBezTo>
                    <a:pt x="1214" y="1663"/>
                    <a:pt x="1214" y="1663"/>
                    <a:pt x="1214" y="1663"/>
                  </a:cubicBezTo>
                  <a:cubicBezTo>
                    <a:pt x="1214" y="1694"/>
                    <a:pt x="1189" y="1719"/>
                    <a:pt x="1158" y="1719"/>
                  </a:cubicBezTo>
                  <a:lnTo>
                    <a:pt x="56" y="1719"/>
                  </a:ln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Freeform 35">
              <a:extLst>
                <a:ext uri="{FF2B5EF4-FFF2-40B4-BE49-F238E27FC236}">
                  <a16:creationId xmlns:a16="http://schemas.microsoft.com/office/drawing/2014/main" id="{9A7A093F-24AA-4A41-9BDC-69EBB5A9A4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6765" y="-6557764"/>
              <a:ext cx="5895975" cy="8347075"/>
            </a:xfrm>
            <a:custGeom>
              <a:avLst/>
              <a:gdLst>
                <a:gd name="T0" fmla="*/ 1157 w 1212"/>
                <a:gd name="T1" fmla="*/ 1716 h 1716"/>
                <a:gd name="T2" fmla="*/ 55 w 1212"/>
                <a:gd name="T3" fmla="*/ 1716 h 1716"/>
                <a:gd name="T4" fmla="*/ 0 w 1212"/>
                <a:gd name="T5" fmla="*/ 1661 h 1716"/>
                <a:gd name="T6" fmla="*/ 0 w 1212"/>
                <a:gd name="T7" fmla="*/ 55 h 1716"/>
                <a:gd name="T8" fmla="*/ 55 w 1212"/>
                <a:gd name="T9" fmla="*/ 0 h 1716"/>
                <a:gd name="T10" fmla="*/ 1157 w 1212"/>
                <a:gd name="T11" fmla="*/ 0 h 1716"/>
                <a:gd name="T12" fmla="*/ 1212 w 1212"/>
                <a:gd name="T13" fmla="*/ 55 h 1716"/>
                <a:gd name="T14" fmla="*/ 1212 w 1212"/>
                <a:gd name="T15" fmla="*/ 1661 h 1716"/>
                <a:gd name="T16" fmla="*/ 1157 w 1212"/>
                <a:gd name="T17" fmla="*/ 1716 h 1716"/>
                <a:gd name="T18" fmla="*/ 55 w 1212"/>
                <a:gd name="T19" fmla="*/ 0 h 1716"/>
                <a:gd name="T20" fmla="*/ 1 w 1212"/>
                <a:gd name="T21" fmla="*/ 55 h 1716"/>
                <a:gd name="T22" fmla="*/ 1 w 1212"/>
                <a:gd name="T23" fmla="*/ 1661 h 1716"/>
                <a:gd name="T24" fmla="*/ 55 w 1212"/>
                <a:gd name="T25" fmla="*/ 1715 h 1716"/>
                <a:gd name="T26" fmla="*/ 1157 w 1212"/>
                <a:gd name="T27" fmla="*/ 1715 h 1716"/>
                <a:gd name="T28" fmla="*/ 1211 w 1212"/>
                <a:gd name="T29" fmla="*/ 1661 h 1716"/>
                <a:gd name="T30" fmla="*/ 1211 w 1212"/>
                <a:gd name="T31" fmla="*/ 55 h 1716"/>
                <a:gd name="T32" fmla="*/ 1157 w 1212"/>
                <a:gd name="T33" fmla="*/ 0 h 1716"/>
                <a:gd name="T34" fmla="*/ 55 w 1212"/>
                <a:gd name="T35" fmla="*/ 0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12" h="1716">
                  <a:moveTo>
                    <a:pt x="1157" y="1716"/>
                  </a:moveTo>
                  <a:cubicBezTo>
                    <a:pt x="55" y="1716"/>
                    <a:pt x="55" y="1716"/>
                    <a:pt x="55" y="1716"/>
                  </a:cubicBezTo>
                  <a:cubicBezTo>
                    <a:pt x="25" y="1716"/>
                    <a:pt x="0" y="1691"/>
                    <a:pt x="0" y="1661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24"/>
                    <a:pt x="25" y="0"/>
                    <a:pt x="55" y="0"/>
                  </a:cubicBezTo>
                  <a:cubicBezTo>
                    <a:pt x="1157" y="0"/>
                    <a:pt x="1157" y="0"/>
                    <a:pt x="1157" y="0"/>
                  </a:cubicBezTo>
                  <a:cubicBezTo>
                    <a:pt x="1187" y="0"/>
                    <a:pt x="1212" y="24"/>
                    <a:pt x="1212" y="55"/>
                  </a:cubicBezTo>
                  <a:cubicBezTo>
                    <a:pt x="1212" y="1661"/>
                    <a:pt x="1212" y="1661"/>
                    <a:pt x="1212" y="1661"/>
                  </a:cubicBezTo>
                  <a:cubicBezTo>
                    <a:pt x="1212" y="1691"/>
                    <a:pt x="1187" y="1716"/>
                    <a:pt x="1157" y="1716"/>
                  </a:cubicBezTo>
                  <a:close/>
                  <a:moveTo>
                    <a:pt x="55" y="0"/>
                  </a:moveTo>
                  <a:cubicBezTo>
                    <a:pt x="25" y="0"/>
                    <a:pt x="1" y="25"/>
                    <a:pt x="1" y="55"/>
                  </a:cubicBezTo>
                  <a:cubicBezTo>
                    <a:pt x="1" y="1661"/>
                    <a:pt x="1" y="1661"/>
                    <a:pt x="1" y="1661"/>
                  </a:cubicBezTo>
                  <a:cubicBezTo>
                    <a:pt x="1" y="1691"/>
                    <a:pt x="25" y="1715"/>
                    <a:pt x="55" y="1715"/>
                  </a:cubicBezTo>
                  <a:cubicBezTo>
                    <a:pt x="1157" y="1715"/>
                    <a:pt x="1157" y="1715"/>
                    <a:pt x="1157" y="1715"/>
                  </a:cubicBezTo>
                  <a:cubicBezTo>
                    <a:pt x="1187" y="1715"/>
                    <a:pt x="1211" y="1691"/>
                    <a:pt x="1211" y="1661"/>
                  </a:cubicBezTo>
                  <a:cubicBezTo>
                    <a:pt x="1211" y="55"/>
                    <a:pt x="1211" y="55"/>
                    <a:pt x="1211" y="55"/>
                  </a:cubicBezTo>
                  <a:cubicBezTo>
                    <a:pt x="1211" y="25"/>
                    <a:pt x="1187" y="0"/>
                    <a:pt x="1157" y="0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Freeform 36">
              <a:extLst>
                <a:ext uri="{FF2B5EF4-FFF2-40B4-BE49-F238E27FC236}">
                  <a16:creationId xmlns:a16="http://schemas.microsoft.com/office/drawing/2014/main" id="{A9257347-C487-4B14-982E-2135187299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8665" y="-6595864"/>
              <a:ext cx="5972175" cy="8423275"/>
            </a:xfrm>
            <a:custGeom>
              <a:avLst/>
              <a:gdLst>
                <a:gd name="T0" fmla="*/ 1165 w 1228"/>
                <a:gd name="T1" fmla="*/ 0 h 1732"/>
                <a:gd name="T2" fmla="*/ 63 w 1228"/>
                <a:gd name="T3" fmla="*/ 0 h 1732"/>
                <a:gd name="T4" fmla="*/ 0 w 1228"/>
                <a:gd name="T5" fmla="*/ 63 h 1732"/>
                <a:gd name="T6" fmla="*/ 0 w 1228"/>
                <a:gd name="T7" fmla="*/ 1669 h 1732"/>
                <a:gd name="T8" fmla="*/ 63 w 1228"/>
                <a:gd name="T9" fmla="*/ 1732 h 1732"/>
                <a:gd name="T10" fmla="*/ 1165 w 1228"/>
                <a:gd name="T11" fmla="*/ 1732 h 1732"/>
                <a:gd name="T12" fmla="*/ 1228 w 1228"/>
                <a:gd name="T13" fmla="*/ 1669 h 1732"/>
                <a:gd name="T14" fmla="*/ 1228 w 1228"/>
                <a:gd name="T15" fmla="*/ 63 h 1732"/>
                <a:gd name="T16" fmla="*/ 1165 w 1228"/>
                <a:gd name="T17" fmla="*/ 0 h 1732"/>
                <a:gd name="T18" fmla="*/ 1221 w 1228"/>
                <a:gd name="T19" fmla="*/ 1669 h 1732"/>
                <a:gd name="T20" fmla="*/ 1165 w 1228"/>
                <a:gd name="T21" fmla="*/ 1725 h 1732"/>
                <a:gd name="T22" fmla="*/ 63 w 1228"/>
                <a:gd name="T23" fmla="*/ 1725 h 1732"/>
                <a:gd name="T24" fmla="*/ 7 w 1228"/>
                <a:gd name="T25" fmla="*/ 1669 h 1732"/>
                <a:gd name="T26" fmla="*/ 7 w 1228"/>
                <a:gd name="T27" fmla="*/ 63 h 1732"/>
                <a:gd name="T28" fmla="*/ 63 w 1228"/>
                <a:gd name="T29" fmla="*/ 6 h 1732"/>
                <a:gd name="T30" fmla="*/ 1165 w 1228"/>
                <a:gd name="T31" fmla="*/ 6 h 1732"/>
                <a:gd name="T32" fmla="*/ 1221 w 1228"/>
                <a:gd name="T33" fmla="*/ 63 h 1732"/>
                <a:gd name="T34" fmla="*/ 1221 w 1228"/>
                <a:gd name="T35" fmla="*/ 1669 h 1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8" h="1732">
                  <a:moveTo>
                    <a:pt x="1165" y="0"/>
                  </a:move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1669"/>
                    <a:pt x="0" y="1669"/>
                    <a:pt x="0" y="1669"/>
                  </a:cubicBezTo>
                  <a:cubicBezTo>
                    <a:pt x="0" y="1703"/>
                    <a:pt x="28" y="1732"/>
                    <a:pt x="63" y="1732"/>
                  </a:cubicBezTo>
                  <a:cubicBezTo>
                    <a:pt x="1165" y="1732"/>
                    <a:pt x="1165" y="1732"/>
                    <a:pt x="1165" y="1732"/>
                  </a:cubicBezTo>
                  <a:cubicBezTo>
                    <a:pt x="1200" y="1732"/>
                    <a:pt x="1228" y="1703"/>
                    <a:pt x="1228" y="1669"/>
                  </a:cubicBezTo>
                  <a:cubicBezTo>
                    <a:pt x="1228" y="63"/>
                    <a:pt x="1228" y="63"/>
                    <a:pt x="1228" y="63"/>
                  </a:cubicBezTo>
                  <a:cubicBezTo>
                    <a:pt x="1228" y="28"/>
                    <a:pt x="1200" y="0"/>
                    <a:pt x="1165" y="0"/>
                  </a:cubicBezTo>
                  <a:close/>
                  <a:moveTo>
                    <a:pt x="1221" y="1669"/>
                  </a:moveTo>
                  <a:cubicBezTo>
                    <a:pt x="1221" y="1700"/>
                    <a:pt x="1196" y="1725"/>
                    <a:pt x="1165" y="1725"/>
                  </a:cubicBezTo>
                  <a:cubicBezTo>
                    <a:pt x="63" y="1725"/>
                    <a:pt x="63" y="1725"/>
                    <a:pt x="63" y="1725"/>
                  </a:cubicBezTo>
                  <a:cubicBezTo>
                    <a:pt x="32" y="1725"/>
                    <a:pt x="7" y="1700"/>
                    <a:pt x="7" y="1669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7" y="32"/>
                    <a:pt x="32" y="6"/>
                    <a:pt x="63" y="6"/>
                  </a:cubicBezTo>
                  <a:cubicBezTo>
                    <a:pt x="1165" y="6"/>
                    <a:pt x="1165" y="6"/>
                    <a:pt x="1165" y="6"/>
                  </a:cubicBezTo>
                  <a:cubicBezTo>
                    <a:pt x="1196" y="6"/>
                    <a:pt x="1221" y="32"/>
                    <a:pt x="1221" y="63"/>
                  </a:cubicBezTo>
                  <a:lnTo>
                    <a:pt x="1221" y="1669"/>
                  </a:ln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Freeform 37">
              <a:extLst>
                <a:ext uri="{FF2B5EF4-FFF2-40B4-BE49-F238E27FC236}">
                  <a16:creationId xmlns:a16="http://schemas.microsoft.com/office/drawing/2014/main" id="{94FBC209-2626-43BA-823C-21128F9CAE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077" y="1278136"/>
              <a:ext cx="388938" cy="346075"/>
            </a:xfrm>
            <a:custGeom>
              <a:avLst/>
              <a:gdLst>
                <a:gd name="T0" fmla="*/ 1 w 80"/>
                <a:gd name="T1" fmla="*/ 42 h 71"/>
                <a:gd name="T2" fmla="*/ 41 w 80"/>
                <a:gd name="T3" fmla="*/ 2 h 71"/>
                <a:gd name="T4" fmla="*/ 80 w 80"/>
                <a:gd name="T5" fmla="*/ 41 h 71"/>
                <a:gd name="T6" fmla="*/ 80 w 80"/>
                <a:gd name="T7" fmla="*/ 40 h 71"/>
                <a:gd name="T8" fmla="*/ 40 w 80"/>
                <a:gd name="T9" fmla="*/ 0 h 71"/>
                <a:gd name="T10" fmla="*/ 0 w 80"/>
                <a:gd name="T11" fmla="*/ 40 h 71"/>
                <a:gd name="T12" fmla="*/ 15 w 80"/>
                <a:gd name="T13" fmla="*/ 71 h 71"/>
                <a:gd name="T14" fmla="*/ 1 w 80"/>
                <a:gd name="T15" fmla="*/ 4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71">
                  <a:moveTo>
                    <a:pt x="1" y="42"/>
                  </a:moveTo>
                  <a:cubicBezTo>
                    <a:pt x="1" y="20"/>
                    <a:pt x="19" y="2"/>
                    <a:pt x="41" y="2"/>
                  </a:cubicBezTo>
                  <a:cubicBezTo>
                    <a:pt x="62" y="2"/>
                    <a:pt x="80" y="19"/>
                    <a:pt x="80" y="41"/>
                  </a:cubicBezTo>
                  <a:cubicBezTo>
                    <a:pt x="80" y="41"/>
                    <a:pt x="80" y="40"/>
                    <a:pt x="80" y="40"/>
                  </a:cubicBezTo>
                  <a:cubicBezTo>
                    <a:pt x="80" y="18"/>
                    <a:pt x="62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3"/>
                    <a:pt x="6" y="64"/>
                    <a:pt x="15" y="71"/>
                  </a:cubicBezTo>
                  <a:cubicBezTo>
                    <a:pt x="6" y="64"/>
                    <a:pt x="1" y="53"/>
                    <a:pt x="1" y="42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Freeform 38">
              <a:extLst>
                <a:ext uri="{FF2B5EF4-FFF2-40B4-BE49-F238E27FC236}">
                  <a16:creationId xmlns:a16="http://schemas.microsoft.com/office/drawing/2014/main" id="{10CA9DCE-D6DE-496E-8773-F65E55608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5365" y="1341636"/>
              <a:ext cx="369888" cy="330200"/>
            </a:xfrm>
            <a:custGeom>
              <a:avLst/>
              <a:gdLst>
                <a:gd name="T0" fmla="*/ 75 w 76"/>
                <a:gd name="T1" fmla="*/ 28 h 68"/>
                <a:gd name="T2" fmla="*/ 37 w 76"/>
                <a:gd name="T3" fmla="*/ 66 h 68"/>
                <a:gd name="T4" fmla="*/ 0 w 76"/>
                <a:gd name="T5" fmla="*/ 29 h 68"/>
                <a:gd name="T6" fmla="*/ 0 w 76"/>
                <a:gd name="T7" fmla="*/ 30 h 68"/>
                <a:gd name="T8" fmla="*/ 38 w 76"/>
                <a:gd name="T9" fmla="*/ 68 h 68"/>
                <a:gd name="T10" fmla="*/ 76 w 76"/>
                <a:gd name="T11" fmla="*/ 30 h 68"/>
                <a:gd name="T12" fmla="*/ 62 w 76"/>
                <a:gd name="T13" fmla="*/ 0 h 68"/>
                <a:gd name="T14" fmla="*/ 75 w 76"/>
                <a:gd name="T15" fmla="*/ 2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68">
                  <a:moveTo>
                    <a:pt x="75" y="28"/>
                  </a:moveTo>
                  <a:cubicBezTo>
                    <a:pt x="75" y="49"/>
                    <a:pt x="58" y="66"/>
                    <a:pt x="37" y="66"/>
                  </a:cubicBezTo>
                  <a:cubicBezTo>
                    <a:pt x="17" y="66"/>
                    <a:pt x="0" y="50"/>
                    <a:pt x="0" y="29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51"/>
                    <a:pt x="17" y="68"/>
                    <a:pt x="38" y="68"/>
                  </a:cubicBezTo>
                  <a:cubicBezTo>
                    <a:pt x="59" y="68"/>
                    <a:pt x="76" y="51"/>
                    <a:pt x="76" y="30"/>
                  </a:cubicBezTo>
                  <a:cubicBezTo>
                    <a:pt x="76" y="18"/>
                    <a:pt x="71" y="7"/>
                    <a:pt x="62" y="0"/>
                  </a:cubicBezTo>
                  <a:cubicBezTo>
                    <a:pt x="70" y="7"/>
                    <a:pt x="75" y="17"/>
                    <a:pt x="75" y="28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Oval 39">
              <a:extLst>
                <a:ext uri="{FF2B5EF4-FFF2-40B4-BE49-F238E27FC236}">
                  <a16:creationId xmlns:a16="http://schemas.microsoft.com/office/drawing/2014/main" id="{179D0CAA-0E31-441D-A99F-43D2391060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5365" y="1292424"/>
              <a:ext cx="369888" cy="365125"/>
            </a:xfrm>
            <a:prstGeom prst="ellipse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Oval 40">
              <a:extLst>
                <a:ext uri="{FF2B5EF4-FFF2-40B4-BE49-F238E27FC236}">
                  <a16:creationId xmlns:a16="http://schemas.microsoft.com/office/drawing/2014/main" id="{E5BAA248-1839-45B1-BCBE-6A43C98A66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6015" y="-6324401"/>
              <a:ext cx="117475" cy="112713"/>
            </a:xfrm>
            <a:prstGeom prst="ellipse">
              <a:avLst/>
            </a:prstGeom>
            <a:solidFill>
              <a:srgbClr val="D7D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" name="Oval 41">
              <a:extLst>
                <a:ext uri="{FF2B5EF4-FFF2-40B4-BE49-F238E27FC236}">
                  <a16:creationId xmlns:a16="http://schemas.microsoft.com/office/drawing/2014/main" id="{537DD22D-C48E-4BB7-8179-FD6AEDCBE5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1415" y="-6303764"/>
              <a:ext cx="68263" cy="73025"/>
            </a:xfrm>
            <a:prstGeom prst="ellipse">
              <a:avLst/>
            </a:prstGeom>
            <a:solidFill>
              <a:srgbClr val="838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Rectangle 42">
              <a:extLst>
                <a:ext uri="{FF2B5EF4-FFF2-40B4-BE49-F238E27FC236}">
                  <a16:creationId xmlns:a16="http://schemas.microsoft.com/office/drawing/2014/main" id="{4C71C59F-7A18-4856-8936-44ED00AA5D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3152" y="-5914826"/>
              <a:ext cx="5283200" cy="7067550"/>
            </a:xfrm>
            <a:prstGeom prst="rect">
              <a:avLst/>
            </a:prstGeom>
            <a:solidFill>
              <a:srgbClr val="619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" name="Freeform 43">
              <a:extLst>
                <a:ext uri="{FF2B5EF4-FFF2-40B4-BE49-F238E27FC236}">
                  <a16:creationId xmlns:a16="http://schemas.microsoft.com/office/drawing/2014/main" id="{BC831EBA-5DC6-46F7-ADC2-D9F581E4DF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665" y="-6595864"/>
              <a:ext cx="5972175" cy="3014663"/>
            </a:xfrm>
            <a:custGeom>
              <a:avLst/>
              <a:gdLst>
                <a:gd name="T0" fmla="*/ 1165 w 1228"/>
                <a:gd name="T1" fmla="*/ 0 h 620"/>
                <a:gd name="T2" fmla="*/ 63 w 1228"/>
                <a:gd name="T3" fmla="*/ 0 h 620"/>
                <a:gd name="T4" fmla="*/ 0 w 1228"/>
                <a:gd name="T5" fmla="*/ 63 h 620"/>
                <a:gd name="T6" fmla="*/ 0 w 1228"/>
                <a:gd name="T7" fmla="*/ 620 h 620"/>
                <a:gd name="T8" fmla="*/ 7 w 1228"/>
                <a:gd name="T9" fmla="*/ 63 h 620"/>
                <a:gd name="T10" fmla="*/ 63 w 1228"/>
                <a:gd name="T11" fmla="*/ 6 h 620"/>
                <a:gd name="T12" fmla="*/ 1165 w 1228"/>
                <a:gd name="T13" fmla="*/ 6 h 620"/>
                <a:gd name="T14" fmla="*/ 1221 w 1228"/>
                <a:gd name="T15" fmla="*/ 63 h 620"/>
                <a:gd name="T16" fmla="*/ 1228 w 1228"/>
                <a:gd name="T17" fmla="*/ 620 h 620"/>
                <a:gd name="T18" fmla="*/ 1228 w 1228"/>
                <a:gd name="T19" fmla="*/ 63 h 620"/>
                <a:gd name="T20" fmla="*/ 1165 w 1228"/>
                <a:gd name="T21" fmla="*/ 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8" h="620">
                  <a:moveTo>
                    <a:pt x="1165" y="0"/>
                  </a:move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620"/>
                    <a:pt x="0" y="620"/>
                    <a:pt x="0" y="620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7" y="32"/>
                    <a:pt x="32" y="6"/>
                    <a:pt x="63" y="6"/>
                  </a:cubicBezTo>
                  <a:cubicBezTo>
                    <a:pt x="1165" y="6"/>
                    <a:pt x="1165" y="6"/>
                    <a:pt x="1165" y="6"/>
                  </a:cubicBezTo>
                  <a:cubicBezTo>
                    <a:pt x="1196" y="6"/>
                    <a:pt x="1221" y="32"/>
                    <a:pt x="1221" y="63"/>
                  </a:cubicBezTo>
                  <a:cubicBezTo>
                    <a:pt x="1228" y="620"/>
                    <a:pt x="1228" y="620"/>
                    <a:pt x="1228" y="620"/>
                  </a:cubicBezTo>
                  <a:cubicBezTo>
                    <a:pt x="1228" y="63"/>
                    <a:pt x="1228" y="63"/>
                    <a:pt x="1228" y="63"/>
                  </a:cubicBezTo>
                  <a:cubicBezTo>
                    <a:pt x="1228" y="28"/>
                    <a:pt x="1200" y="0"/>
                    <a:pt x="1165" y="0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" name="Freeform 44">
              <a:extLst>
                <a:ext uri="{FF2B5EF4-FFF2-40B4-BE49-F238E27FC236}">
                  <a16:creationId xmlns:a16="http://schemas.microsoft.com/office/drawing/2014/main" id="{8ED660A7-2F40-434B-AB9D-5C933FD87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665" y="-1187251"/>
              <a:ext cx="5972175" cy="3014663"/>
            </a:xfrm>
            <a:custGeom>
              <a:avLst/>
              <a:gdLst>
                <a:gd name="T0" fmla="*/ 1221 w 1228"/>
                <a:gd name="T1" fmla="*/ 557 h 620"/>
                <a:gd name="T2" fmla="*/ 1165 w 1228"/>
                <a:gd name="T3" fmla="*/ 613 h 620"/>
                <a:gd name="T4" fmla="*/ 63 w 1228"/>
                <a:gd name="T5" fmla="*/ 613 h 620"/>
                <a:gd name="T6" fmla="*/ 7 w 1228"/>
                <a:gd name="T7" fmla="*/ 557 h 620"/>
                <a:gd name="T8" fmla="*/ 0 w 1228"/>
                <a:gd name="T9" fmla="*/ 0 h 620"/>
                <a:gd name="T10" fmla="*/ 0 w 1228"/>
                <a:gd name="T11" fmla="*/ 557 h 620"/>
                <a:gd name="T12" fmla="*/ 63 w 1228"/>
                <a:gd name="T13" fmla="*/ 620 h 620"/>
                <a:gd name="T14" fmla="*/ 1165 w 1228"/>
                <a:gd name="T15" fmla="*/ 620 h 620"/>
                <a:gd name="T16" fmla="*/ 1228 w 1228"/>
                <a:gd name="T17" fmla="*/ 557 h 620"/>
                <a:gd name="T18" fmla="*/ 1228 w 1228"/>
                <a:gd name="T19" fmla="*/ 0 h 620"/>
                <a:gd name="T20" fmla="*/ 1221 w 1228"/>
                <a:gd name="T21" fmla="*/ 557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8" h="620">
                  <a:moveTo>
                    <a:pt x="1221" y="557"/>
                  </a:moveTo>
                  <a:cubicBezTo>
                    <a:pt x="1221" y="588"/>
                    <a:pt x="1196" y="613"/>
                    <a:pt x="1165" y="613"/>
                  </a:cubicBezTo>
                  <a:cubicBezTo>
                    <a:pt x="63" y="613"/>
                    <a:pt x="63" y="613"/>
                    <a:pt x="63" y="613"/>
                  </a:cubicBezTo>
                  <a:cubicBezTo>
                    <a:pt x="32" y="613"/>
                    <a:pt x="7" y="588"/>
                    <a:pt x="7" y="55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57"/>
                    <a:pt x="0" y="557"/>
                    <a:pt x="0" y="557"/>
                  </a:cubicBezTo>
                  <a:cubicBezTo>
                    <a:pt x="0" y="591"/>
                    <a:pt x="28" y="620"/>
                    <a:pt x="63" y="620"/>
                  </a:cubicBezTo>
                  <a:cubicBezTo>
                    <a:pt x="1165" y="620"/>
                    <a:pt x="1165" y="620"/>
                    <a:pt x="1165" y="620"/>
                  </a:cubicBezTo>
                  <a:cubicBezTo>
                    <a:pt x="1200" y="620"/>
                    <a:pt x="1228" y="591"/>
                    <a:pt x="1228" y="557"/>
                  </a:cubicBezTo>
                  <a:cubicBezTo>
                    <a:pt x="1228" y="0"/>
                    <a:pt x="1228" y="0"/>
                    <a:pt x="1228" y="0"/>
                  </a:cubicBezTo>
                  <a:lnTo>
                    <a:pt x="1221" y="557"/>
                  </a:ln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32" name="Рисунок 21">
            <a:extLst>
              <a:ext uri="{FF2B5EF4-FFF2-40B4-BE49-F238E27FC236}">
                <a16:creationId xmlns:a16="http://schemas.microsoft.com/office/drawing/2014/main" id="{3042E93A-58FB-4B4E-86FE-DCE6D5EF836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896969" y="907569"/>
            <a:ext cx="2473151" cy="3311173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3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79124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21">
            <a:extLst>
              <a:ext uri="{FF2B5EF4-FFF2-40B4-BE49-F238E27FC236}">
                <a16:creationId xmlns:a16="http://schemas.microsoft.com/office/drawing/2014/main" id="{51AEE533-6464-457C-9044-32D56EA266E7}"/>
              </a:ext>
            </a:extLst>
          </p:cNvPr>
          <p:cNvSpPr/>
          <p:nvPr userDrawn="1"/>
        </p:nvSpPr>
        <p:spPr>
          <a:xfrm>
            <a:off x="0" y="1324565"/>
            <a:ext cx="9144000" cy="3370651"/>
          </a:xfrm>
          <a:prstGeom prst="rect">
            <a:avLst/>
          </a:prstGeom>
          <a:solidFill>
            <a:srgbClr val="F9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81" tIns="17140" rIns="34281" bIns="17140" rtlCol="0" anchor="ctr"/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9" y="383309"/>
            <a:ext cx="3625208" cy="360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90527" y="1535588"/>
            <a:ext cx="8353233" cy="303415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Рисунок 21">
            <a:extLst>
              <a:ext uri="{FF2B5EF4-FFF2-40B4-BE49-F238E27FC236}">
                <a16:creationId xmlns:a16="http://schemas.microsoft.com/office/drawing/2014/main" id="{8C1D2474-B9B4-40B0-8BE8-994BDBC05AD4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834707" y="573759"/>
            <a:ext cx="3373968" cy="2154514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300" dirty="0"/>
            </a:lvl1pPr>
          </a:lstStyle>
          <a:p>
            <a:pPr lvl="0" algn="ctr"/>
            <a:r>
              <a:rPr lang="en-US" dirty="0"/>
              <a:t>/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62097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21">
            <a:extLst>
              <a:ext uri="{FF2B5EF4-FFF2-40B4-BE49-F238E27FC236}">
                <a16:creationId xmlns:a16="http://schemas.microsoft.com/office/drawing/2014/main" id="{51AEE533-6464-457C-9044-32D56EA266E7}"/>
              </a:ext>
            </a:extLst>
          </p:cNvPr>
          <p:cNvSpPr/>
          <p:nvPr userDrawn="1"/>
        </p:nvSpPr>
        <p:spPr>
          <a:xfrm>
            <a:off x="0" y="1324565"/>
            <a:ext cx="9144000" cy="33706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81" tIns="17140" rIns="34281" bIns="17140" rtlCol="0" anchor="ctr"/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9" y="383309"/>
            <a:ext cx="3625208" cy="360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90527" y="1535588"/>
            <a:ext cx="8353233" cy="303415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Рисунок 21">
            <a:extLst>
              <a:ext uri="{FF2B5EF4-FFF2-40B4-BE49-F238E27FC236}">
                <a16:creationId xmlns:a16="http://schemas.microsoft.com/office/drawing/2014/main" id="{8C1D2474-B9B4-40B0-8BE8-994BDBC05AD4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834707" y="573759"/>
            <a:ext cx="3373968" cy="2154514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300" dirty="0"/>
            </a:lvl1pPr>
          </a:lstStyle>
          <a:p>
            <a:pPr lvl="0" algn="ctr"/>
            <a:r>
              <a:rPr lang="en-US" dirty="0"/>
              <a:t>/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94008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een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002862"/>
            <a:ext cx="6012000" cy="2527205"/>
          </a:xfrm>
        </p:spPr>
        <p:txBody>
          <a:bodyPr anchor="b" anchorCtr="0">
            <a:noAutofit/>
          </a:bodyPr>
          <a:lstStyle>
            <a:lvl1pPr marL="0" algn="l" defTabSz="457200" rtl="0" eaLnBrk="1" latinLnBrk="0" hangingPunct="1">
              <a:lnSpc>
                <a:spcPct val="81000"/>
              </a:lnSpc>
              <a:spcBef>
                <a:spcPct val="0"/>
              </a:spcBef>
              <a:buNone/>
              <a:defRPr lang="en-US" sz="5500" b="1" i="0" kern="1200" cap="all" baseline="0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title styl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901558"/>
            <a:ext cx="6012000" cy="71985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lang="fi-FI" sz="16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en-US" dirty="0"/>
              <a:t>Click to add Date and Presente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4D25AB9-8020-4C3E-83A3-21C1C12A3332}"/>
              </a:ext>
            </a:extLst>
          </p:cNvPr>
          <p:cNvCxnSpPr>
            <a:cxnSpLocks/>
          </p:cNvCxnSpPr>
          <p:nvPr userDrawn="1"/>
        </p:nvCxnSpPr>
        <p:spPr>
          <a:xfrm>
            <a:off x="382588" y="3704500"/>
            <a:ext cx="764041" cy="0"/>
          </a:xfrm>
          <a:prstGeom prst="line">
            <a:avLst/>
          </a:prstGeom>
          <a:ln w="25400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D15EA37A-A1F0-409C-B851-F3DCE2A609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308" y="291516"/>
            <a:ext cx="1037554" cy="461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27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383309"/>
            <a:ext cx="5685836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90527" y="1374774"/>
            <a:ext cx="5680439" cy="325080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8" name="Группа 17">
            <a:extLst>
              <a:ext uri="{FF2B5EF4-FFF2-40B4-BE49-F238E27FC236}">
                <a16:creationId xmlns:a16="http://schemas.microsoft.com/office/drawing/2014/main" id="{C4508ACA-3F91-4949-BEDA-30D792BD23F5}"/>
              </a:ext>
            </a:extLst>
          </p:cNvPr>
          <p:cNvGrpSpPr/>
          <p:nvPr userDrawn="1"/>
        </p:nvGrpSpPr>
        <p:grpSpPr>
          <a:xfrm>
            <a:off x="6254340" y="1062166"/>
            <a:ext cx="5764543" cy="3131985"/>
            <a:chOff x="7068965" y="3978474"/>
            <a:chExt cx="13623925" cy="7402512"/>
          </a:xfrm>
          <a:effectLst>
            <a:reflection blurRad="50800" stA="50000" endPos="17000" dir="5400000" sy="-100000" algn="bl" rotWithShape="0"/>
          </a:effectLst>
        </p:grpSpPr>
        <p:sp>
          <p:nvSpPr>
            <p:cNvPr id="9" name="Freeform 60">
              <a:extLst>
                <a:ext uri="{FF2B5EF4-FFF2-40B4-BE49-F238E27FC236}">
                  <a16:creationId xmlns:a16="http://schemas.microsoft.com/office/drawing/2014/main" id="{6B175909-2855-456C-9929-56890650BD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4402" y="3978474"/>
              <a:ext cx="10433050" cy="7237413"/>
            </a:xfrm>
            <a:custGeom>
              <a:avLst/>
              <a:gdLst>
                <a:gd name="T0" fmla="*/ 2075 w 2145"/>
                <a:gd name="T1" fmla="*/ 1488 h 1488"/>
                <a:gd name="T2" fmla="*/ 70 w 2145"/>
                <a:gd name="T3" fmla="*/ 1488 h 1488"/>
                <a:gd name="T4" fmla="*/ 0 w 2145"/>
                <a:gd name="T5" fmla="*/ 1418 h 1488"/>
                <a:gd name="T6" fmla="*/ 0 w 2145"/>
                <a:gd name="T7" fmla="*/ 71 h 1488"/>
                <a:gd name="T8" fmla="*/ 70 w 2145"/>
                <a:gd name="T9" fmla="*/ 0 h 1488"/>
                <a:gd name="T10" fmla="*/ 2075 w 2145"/>
                <a:gd name="T11" fmla="*/ 0 h 1488"/>
                <a:gd name="T12" fmla="*/ 2145 w 2145"/>
                <a:gd name="T13" fmla="*/ 71 h 1488"/>
                <a:gd name="T14" fmla="*/ 2145 w 2145"/>
                <a:gd name="T15" fmla="*/ 1418 h 1488"/>
                <a:gd name="T16" fmla="*/ 2075 w 2145"/>
                <a:gd name="T17" fmla="*/ 1488 h 1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5" h="1488">
                  <a:moveTo>
                    <a:pt x="2075" y="1488"/>
                  </a:moveTo>
                  <a:cubicBezTo>
                    <a:pt x="70" y="1488"/>
                    <a:pt x="70" y="1488"/>
                    <a:pt x="70" y="1488"/>
                  </a:cubicBezTo>
                  <a:cubicBezTo>
                    <a:pt x="32" y="1488"/>
                    <a:pt x="0" y="1457"/>
                    <a:pt x="0" y="1418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0" y="0"/>
                  </a:cubicBezTo>
                  <a:cubicBezTo>
                    <a:pt x="2075" y="0"/>
                    <a:pt x="2075" y="0"/>
                    <a:pt x="2075" y="0"/>
                  </a:cubicBezTo>
                  <a:cubicBezTo>
                    <a:pt x="2113" y="0"/>
                    <a:pt x="2145" y="32"/>
                    <a:pt x="2145" y="71"/>
                  </a:cubicBezTo>
                  <a:cubicBezTo>
                    <a:pt x="2145" y="1418"/>
                    <a:pt x="2145" y="1418"/>
                    <a:pt x="2145" y="1418"/>
                  </a:cubicBezTo>
                  <a:cubicBezTo>
                    <a:pt x="2145" y="1457"/>
                    <a:pt x="2113" y="1488"/>
                    <a:pt x="2075" y="148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" name="Freeform 61">
              <a:extLst>
                <a:ext uri="{FF2B5EF4-FFF2-40B4-BE49-F238E27FC236}">
                  <a16:creationId xmlns:a16="http://schemas.microsoft.com/office/drawing/2014/main" id="{2E0E091B-7AE1-423E-9C50-2A86F4D0CE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99327" y="4011811"/>
              <a:ext cx="10364788" cy="7173913"/>
            </a:xfrm>
            <a:custGeom>
              <a:avLst/>
              <a:gdLst>
                <a:gd name="T0" fmla="*/ 2068 w 2131"/>
                <a:gd name="T1" fmla="*/ 1475 h 1475"/>
                <a:gd name="T2" fmla="*/ 63 w 2131"/>
                <a:gd name="T3" fmla="*/ 1475 h 1475"/>
                <a:gd name="T4" fmla="*/ 0 w 2131"/>
                <a:gd name="T5" fmla="*/ 1411 h 1475"/>
                <a:gd name="T6" fmla="*/ 0 w 2131"/>
                <a:gd name="T7" fmla="*/ 64 h 1475"/>
                <a:gd name="T8" fmla="*/ 63 w 2131"/>
                <a:gd name="T9" fmla="*/ 0 h 1475"/>
                <a:gd name="T10" fmla="*/ 2068 w 2131"/>
                <a:gd name="T11" fmla="*/ 0 h 1475"/>
                <a:gd name="T12" fmla="*/ 2131 w 2131"/>
                <a:gd name="T13" fmla="*/ 64 h 1475"/>
                <a:gd name="T14" fmla="*/ 2131 w 2131"/>
                <a:gd name="T15" fmla="*/ 1411 h 1475"/>
                <a:gd name="T16" fmla="*/ 2068 w 2131"/>
                <a:gd name="T17" fmla="*/ 1475 h 1475"/>
                <a:gd name="T18" fmla="*/ 63 w 2131"/>
                <a:gd name="T19" fmla="*/ 3 h 1475"/>
                <a:gd name="T20" fmla="*/ 3 w 2131"/>
                <a:gd name="T21" fmla="*/ 64 h 1475"/>
                <a:gd name="T22" fmla="*/ 3 w 2131"/>
                <a:gd name="T23" fmla="*/ 1411 h 1475"/>
                <a:gd name="T24" fmla="*/ 63 w 2131"/>
                <a:gd name="T25" fmla="*/ 1472 h 1475"/>
                <a:gd name="T26" fmla="*/ 2068 w 2131"/>
                <a:gd name="T27" fmla="*/ 1472 h 1475"/>
                <a:gd name="T28" fmla="*/ 2128 w 2131"/>
                <a:gd name="T29" fmla="*/ 1411 h 1475"/>
                <a:gd name="T30" fmla="*/ 2128 w 2131"/>
                <a:gd name="T31" fmla="*/ 64 h 1475"/>
                <a:gd name="T32" fmla="*/ 2068 w 2131"/>
                <a:gd name="T33" fmla="*/ 3 h 1475"/>
                <a:gd name="T34" fmla="*/ 63 w 2131"/>
                <a:gd name="T35" fmla="*/ 3 h 1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31" h="1475">
                  <a:moveTo>
                    <a:pt x="2068" y="1475"/>
                  </a:moveTo>
                  <a:cubicBezTo>
                    <a:pt x="63" y="1475"/>
                    <a:pt x="63" y="1475"/>
                    <a:pt x="63" y="1475"/>
                  </a:cubicBezTo>
                  <a:cubicBezTo>
                    <a:pt x="28" y="1475"/>
                    <a:pt x="0" y="1446"/>
                    <a:pt x="0" y="1411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3" y="0"/>
                  </a:cubicBezTo>
                  <a:cubicBezTo>
                    <a:pt x="2068" y="0"/>
                    <a:pt x="2068" y="0"/>
                    <a:pt x="2068" y="0"/>
                  </a:cubicBezTo>
                  <a:cubicBezTo>
                    <a:pt x="2103" y="0"/>
                    <a:pt x="2131" y="29"/>
                    <a:pt x="2131" y="64"/>
                  </a:cubicBezTo>
                  <a:cubicBezTo>
                    <a:pt x="2131" y="1411"/>
                    <a:pt x="2131" y="1411"/>
                    <a:pt x="2131" y="1411"/>
                  </a:cubicBezTo>
                  <a:cubicBezTo>
                    <a:pt x="2131" y="1446"/>
                    <a:pt x="2103" y="1475"/>
                    <a:pt x="2068" y="1475"/>
                  </a:cubicBezTo>
                  <a:close/>
                  <a:moveTo>
                    <a:pt x="63" y="3"/>
                  </a:moveTo>
                  <a:cubicBezTo>
                    <a:pt x="30" y="3"/>
                    <a:pt x="3" y="30"/>
                    <a:pt x="3" y="64"/>
                  </a:cubicBezTo>
                  <a:cubicBezTo>
                    <a:pt x="3" y="1411"/>
                    <a:pt x="3" y="1411"/>
                    <a:pt x="3" y="1411"/>
                  </a:cubicBezTo>
                  <a:cubicBezTo>
                    <a:pt x="3" y="1444"/>
                    <a:pt x="30" y="1472"/>
                    <a:pt x="63" y="1472"/>
                  </a:cubicBezTo>
                  <a:cubicBezTo>
                    <a:pt x="2068" y="1472"/>
                    <a:pt x="2068" y="1472"/>
                    <a:pt x="2068" y="1472"/>
                  </a:cubicBezTo>
                  <a:cubicBezTo>
                    <a:pt x="2101" y="1472"/>
                    <a:pt x="2128" y="1444"/>
                    <a:pt x="2128" y="1411"/>
                  </a:cubicBezTo>
                  <a:cubicBezTo>
                    <a:pt x="2128" y="64"/>
                    <a:pt x="2128" y="64"/>
                    <a:pt x="2128" y="64"/>
                  </a:cubicBezTo>
                  <a:cubicBezTo>
                    <a:pt x="2128" y="30"/>
                    <a:pt x="2101" y="3"/>
                    <a:pt x="2068" y="3"/>
                  </a:cubicBezTo>
                  <a:lnTo>
                    <a:pt x="63" y="3"/>
                  </a:lnTo>
                  <a:close/>
                </a:path>
              </a:pathLst>
            </a:custGeom>
            <a:solidFill>
              <a:srgbClr val="A8A8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" name="Rectangle 62">
              <a:extLst>
                <a:ext uri="{FF2B5EF4-FFF2-40B4-BE49-F238E27FC236}">
                  <a16:creationId xmlns:a16="http://schemas.microsoft.com/office/drawing/2014/main" id="{E5F6F51B-3D00-4494-A504-8B8EF985BF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66052" y="4483299"/>
              <a:ext cx="9431338" cy="6002338"/>
            </a:xfrm>
            <a:prstGeom prst="rect">
              <a:avLst/>
            </a:prstGeom>
            <a:solidFill>
              <a:srgbClr val="619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" name="Freeform 63">
              <a:extLst>
                <a:ext uri="{FF2B5EF4-FFF2-40B4-BE49-F238E27FC236}">
                  <a16:creationId xmlns:a16="http://schemas.microsoft.com/office/drawing/2014/main" id="{8A602697-D215-4F1C-A242-55B6C54A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8965" y="11088886"/>
              <a:ext cx="13623925" cy="292100"/>
            </a:xfrm>
            <a:custGeom>
              <a:avLst/>
              <a:gdLst>
                <a:gd name="T0" fmla="*/ 2795 w 2801"/>
                <a:gd name="T1" fmla="*/ 0 h 60"/>
                <a:gd name="T2" fmla="*/ 2278 w 2801"/>
                <a:gd name="T3" fmla="*/ 0 h 60"/>
                <a:gd name="T4" fmla="*/ 1986 w 2801"/>
                <a:gd name="T5" fmla="*/ 0 h 60"/>
                <a:gd name="T6" fmla="*/ 815 w 2801"/>
                <a:gd name="T7" fmla="*/ 0 h 60"/>
                <a:gd name="T8" fmla="*/ 523 w 2801"/>
                <a:gd name="T9" fmla="*/ 0 h 60"/>
                <a:gd name="T10" fmla="*/ 6 w 2801"/>
                <a:gd name="T11" fmla="*/ 0 h 60"/>
                <a:gd name="T12" fmla="*/ 126 w 2801"/>
                <a:gd name="T13" fmla="*/ 38 h 60"/>
                <a:gd name="T14" fmla="*/ 484 w 2801"/>
                <a:gd name="T15" fmla="*/ 60 h 60"/>
                <a:gd name="T16" fmla="*/ 815 w 2801"/>
                <a:gd name="T17" fmla="*/ 60 h 60"/>
                <a:gd name="T18" fmla="*/ 1986 w 2801"/>
                <a:gd name="T19" fmla="*/ 60 h 60"/>
                <a:gd name="T20" fmla="*/ 2317 w 2801"/>
                <a:gd name="T21" fmla="*/ 60 h 60"/>
                <a:gd name="T22" fmla="*/ 2675 w 2801"/>
                <a:gd name="T23" fmla="*/ 38 h 60"/>
                <a:gd name="T24" fmla="*/ 2795 w 2801"/>
                <a:gd name="T2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01" h="60">
                  <a:moveTo>
                    <a:pt x="2795" y="0"/>
                  </a:moveTo>
                  <a:cubicBezTo>
                    <a:pt x="2278" y="0"/>
                    <a:pt x="2278" y="0"/>
                    <a:pt x="2278" y="0"/>
                  </a:cubicBezTo>
                  <a:cubicBezTo>
                    <a:pt x="1986" y="0"/>
                    <a:pt x="1986" y="0"/>
                    <a:pt x="1986" y="0"/>
                  </a:cubicBezTo>
                  <a:cubicBezTo>
                    <a:pt x="815" y="0"/>
                    <a:pt x="815" y="0"/>
                    <a:pt x="815" y="0"/>
                  </a:cubicBezTo>
                  <a:cubicBezTo>
                    <a:pt x="523" y="0"/>
                    <a:pt x="523" y="0"/>
                    <a:pt x="52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0" y="21"/>
                    <a:pt x="126" y="38"/>
                  </a:cubicBezTo>
                  <a:cubicBezTo>
                    <a:pt x="252" y="55"/>
                    <a:pt x="393" y="60"/>
                    <a:pt x="484" y="60"/>
                  </a:cubicBezTo>
                  <a:cubicBezTo>
                    <a:pt x="544" y="60"/>
                    <a:pt x="708" y="60"/>
                    <a:pt x="815" y="60"/>
                  </a:cubicBezTo>
                  <a:cubicBezTo>
                    <a:pt x="872" y="60"/>
                    <a:pt x="1986" y="60"/>
                    <a:pt x="1986" y="60"/>
                  </a:cubicBezTo>
                  <a:cubicBezTo>
                    <a:pt x="2093" y="60"/>
                    <a:pt x="2257" y="60"/>
                    <a:pt x="2317" y="60"/>
                  </a:cubicBezTo>
                  <a:cubicBezTo>
                    <a:pt x="2408" y="60"/>
                    <a:pt x="2549" y="55"/>
                    <a:pt x="2675" y="38"/>
                  </a:cubicBezTo>
                  <a:cubicBezTo>
                    <a:pt x="2801" y="21"/>
                    <a:pt x="2795" y="0"/>
                    <a:pt x="2795" y="0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Freeform 64">
              <a:extLst>
                <a:ext uri="{FF2B5EF4-FFF2-40B4-BE49-F238E27FC236}">
                  <a16:creationId xmlns:a16="http://schemas.microsoft.com/office/drawing/2014/main" id="{AA5CBFA1-92D8-4234-852A-6B63301A6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0165" y="11288911"/>
              <a:ext cx="12203113" cy="92075"/>
            </a:xfrm>
            <a:custGeom>
              <a:avLst/>
              <a:gdLst>
                <a:gd name="T0" fmla="*/ 2198 w 2509"/>
                <a:gd name="T1" fmla="*/ 11 h 19"/>
                <a:gd name="T2" fmla="*/ 1857 w 2509"/>
                <a:gd name="T3" fmla="*/ 11 h 19"/>
                <a:gd name="T4" fmla="*/ 652 w 2509"/>
                <a:gd name="T5" fmla="*/ 11 h 19"/>
                <a:gd name="T6" fmla="*/ 311 w 2509"/>
                <a:gd name="T7" fmla="*/ 11 h 19"/>
                <a:gd name="T8" fmla="*/ 0 w 2509"/>
                <a:gd name="T9" fmla="*/ 0 h 19"/>
                <a:gd name="T10" fmla="*/ 338 w 2509"/>
                <a:gd name="T11" fmla="*/ 19 h 19"/>
                <a:gd name="T12" fmla="*/ 669 w 2509"/>
                <a:gd name="T13" fmla="*/ 19 h 19"/>
                <a:gd name="T14" fmla="*/ 1840 w 2509"/>
                <a:gd name="T15" fmla="*/ 19 h 19"/>
                <a:gd name="T16" fmla="*/ 2171 w 2509"/>
                <a:gd name="T17" fmla="*/ 19 h 19"/>
                <a:gd name="T18" fmla="*/ 2509 w 2509"/>
                <a:gd name="T19" fmla="*/ 0 h 19"/>
                <a:gd name="T20" fmla="*/ 2198 w 2509"/>
                <a:gd name="T21" fmla="*/ 1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9" h="19">
                  <a:moveTo>
                    <a:pt x="2198" y="11"/>
                  </a:moveTo>
                  <a:cubicBezTo>
                    <a:pt x="2136" y="11"/>
                    <a:pt x="1967" y="11"/>
                    <a:pt x="1857" y="11"/>
                  </a:cubicBezTo>
                  <a:cubicBezTo>
                    <a:pt x="1857" y="11"/>
                    <a:pt x="710" y="11"/>
                    <a:pt x="652" y="11"/>
                  </a:cubicBezTo>
                  <a:cubicBezTo>
                    <a:pt x="542" y="11"/>
                    <a:pt x="373" y="11"/>
                    <a:pt x="311" y="11"/>
                  </a:cubicBezTo>
                  <a:cubicBezTo>
                    <a:pt x="230" y="11"/>
                    <a:pt x="113" y="8"/>
                    <a:pt x="0" y="0"/>
                  </a:cubicBezTo>
                  <a:cubicBezTo>
                    <a:pt x="120" y="14"/>
                    <a:pt x="251" y="19"/>
                    <a:pt x="338" y="19"/>
                  </a:cubicBezTo>
                  <a:cubicBezTo>
                    <a:pt x="398" y="19"/>
                    <a:pt x="562" y="19"/>
                    <a:pt x="669" y="19"/>
                  </a:cubicBezTo>
                  <a:cubicBezTo>
                    <a:pt x="726" y="19"/>
                    <a:pt x="1840" y="19"/>
                    <a:pt x="1840" y="19"/>
                  </a:cubicBezTo>
                  <a:cubicBezTo>
                    <a:pt x="1947" y="19"/>
                    <a:pt x="2111" y="19"/>
                    <a:pt x="2171" y="19"/>
                  </a:cubicBezTo>
                  <a:cubicBezTo>
                    <a:pt x="2258" y="19"/>
                    <a:pt x="2389" y="14"/>
                    <a:pt x="2509" y="0"/>
                  </a:cubicBezTo>
                  <a:cubicBezTo>
                    <a:pt x="2396" y="8"/>
                    <a:pt x="2279" y="11"/>
                    <a:pt x="2198" y="11"/>
                  </a:cubicBezTo>
                  <a:close/>
                </a:path>
              </a:pathLst>
            </a:custGeom>
            <a:solidFill>
              <a:srgbClr val="838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65">
              <a:extLst>
                <a:ext uri="{FF2B5EF4-FFF2-40B4-BE49-F238E27FC236}">
                  <a16:creationId xmlns:a16="http://schemas.microsoft.com/office/drawing/2014/main" id="{02A2C68F-17AA-4AD5-9D16-200757BD544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7227" y="11138099"/>
              <a:ext cx="13487400" cy="68263"/>
            </a:xfrm>
            <a:custGeom>
              <a:avLst/>
              <a:gdLst>
                <a:gd name="T0" fmla="*/ 2773 w 2773"/>
                <a:gd name="T1" fmla="*/ 0 h 14"/>
                <a:gd name="T2" fmla="*/ 1627 w 2773"/>
                <a:gd name="T3" fmla="*/ 0 h 14"/>
                <a:gd name="T4" fmla="*/ 1618 w 2773"/>
                <a:gd name="T5" fmla="*/ 3 h 14"/>
                <a:gd name="T6" fmla="*/ 1565 w 2773"/>
                <a:gd name="T7" fmla="*/ 13 h 14"/>
                <a:gd name="T8" fmla="*/ 1208 w 2773"/>
                <a:gd name="T9" fmla="*/ 13 h 14"/>
                <a:gd name="T10" fmla="*/ 1155 w 2773"/>
                <a:gd name="T11" fmla="*/ 3 h 14"/>
                <a:gd name="T12" fmla="*/ 1146 w 2773"/>
                <a:gd name="T13" fmla="*/ 0 h 14"/>
                <a:gd name="T14" fmla="*/ 0 w 2773"/>
                <a:gd name="T15" fmla="*/ 0 h 14"/>
                <a:gd name="T16" fmla="*/ 2 w 2773"/>
                <a:gd name="T17" fmla="*/ 1 h 14"/>
                <a:gd name="T18" fmla="*/ 1146 w 2773"/>
                <a:gd name="T19" fmla="*/ 1 h 14"/>
                <a:gd name="T20" fmla="*/ 1154 w 2773"/>
                <a:gd name="T21" fmla="*/ 4 h 14"/>
                <a:gd name="T22" fmla="*/ 1208 w 2773"/>
                <a:gd name="T23" fmla="*/ 14 h 14"/>
                <a:gd name="T24" fmla="*/ 1565 w 2773"/>
                <a:gd name="T25" fmla="*/ 14 h 14"/>
                <a:gd name="T26" fmla="*/ 1619 w 2773"/>
                <a:gd name="T27" fmla="*/ 4 h 14"/>
                <a:gd name="T28" fmla="*/ 1627 w 2773"/>
                <a:gd name="T29" fmla="*/ 1 h 14"/>
                <a:gd name="T30" fmla="*/ 2771 w 2773"/>
                <a:gd name="T31" fmla="*/ 1 h 14"/>
                <a:gd name="T32" fmla="*/ 2773 w 2773"/>
                <a:gd name="T3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73" h="14">
                  <a:moveTo>
                    <a:pt x="2773" y="0"/>
                  </a:moveTo>
                  <a:cubicBezTo>
                    <a:pt x="1627" y="0"/>
                    <a:pt x="1627" y="0"/>
                    <a:pt x="1627" y="0"/>
                  </a:cubicBezTo>
                  <a:cubicBezTo>
                    <a:pt x="1624" y="0"/>
                    <a:pt x="1621" y="1"/>
                    <a:pt x="1618" y="3"/>
                  </a:cubicBezTo>
                  <a:cubicBezTo>
                    <a:pt x="1613" y="7"/>
                    <a:pt x="1600" y="13"/>
                    <a:pt x="1565" y="13"/>
                  </a:cubicBezTo>
                  <a:cubicBezTo>
                    <a:pt x="1208" y="13"/>
                    <a:pt x="1208" y="13"/>
                    <a:pt x="1208" y="13"/>
                  </a:cubicBezTo>
                  <a:cubicBezTo>
                    <a:pt x="1173" y="13"/>
                    <a:pt x="1160" y="7"/>
                    <a:pt x="1155" y="3"/>
                  </a:cubicBezTo>
                  <a:cubicBezTo>
                    <a:pt x="1152" y="1"/>
                    <a:pt x="1149" y="0"/>
                    <a:pt x="114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1146" y="1"/>
                    <a:pt x="1146" y="1"/>
                    <a:pt x="1146" y="1"/>
                  </a:cubicBezTo>
                  <a:cubicBezTo>
                    <a:pt x="1149" y="1"/>
                    <a:pt x="1152" y="2"/>
                    <a:pt x="1154" y="4"/>
                  </a:cubicBezTo>
                  <a:cubicBezTo>
                    <a:pt x="1159" y="8"/>
                    <a:pt x="1173" y="14"/>
                    <a:pt x="1208" y="14"/>
                  </a:cubicBezTo>
                  <a:cubicBezTo>
                    <a:pt x="1565" y="14"/>
                    <a:pt x="1565" y="14"/>
                    <a:pt x="1565" y="14"/>
                  </a:cubicBezTo>
                  <a:cubicBezTo>
                    <a:pt x="1600" y="14"/>
                    <a:pt x="1614" y="8"/>
                    <a:pt x="1619" y="4"/>
                  </a:cubicBezTo>
                  <a:cubicBezTo>
                    <a:pt x="1621" y="2"/>
                    <a:pt x="1624" y="1"/>
                    <a:pt x="1627" y="1"/>
                  </a:cubicBezTo>
                  <a:cubicBezTo>
                    <a:pt x="2771" y="1"/>
                    <a:pt x="2771" y="1"/>
                    <a:pt x="2771" y="1"/>
                  </a:cubicBezTo>
                  <a:cubicBezTo>
                    <a:pt x="2772" y="1"/>
                    <a:pt x="2773" y="1"/>
                    <a:pt x="2773" y="0"/>
                  </a:cubicBezTo>
                  <a:close/>
                </a:path>
              </a:pathLst>
            </a:custGeom>
            <a:solidFill>
              <a:srgbClr val="E4E4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66">
              <a:extLst>
                <a:ext uri="{FF2B5EF4-FFF2-40B4-BE49-F238E27FC236}">
                  <a16:creationId xmlns:a16="http://schemas.microsoft.com/office/drawing/2014/main" id="{A9029FC5-55E7-4E48-B3E9-573895393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4365" y="11088886"/>
              <a:ext cx="13574713" cy="19050"/>
            </a:xfrm>
            <a:custGeom>
              <a:avLst/>
              <a:gdLst>
                <a:gd name="T0" fmla="*/ 2273 w 2791"/>
                <a:gd name="T1" fmla="*/ 0 h 4"/>
                <a:gd name="T2" fmla="*/ 1981 w 2791"/>
                <a:gd name="T3" fmla="*/ 0 h 4"/>
                <a:gd name="T4" fmla="*/ 810 w 2791"/>
                <a:gd name="T5" fmla="*/ 0 h 4"/>
                <a:gd name="T6" fmla="*/ 518 w 2791"/>
                <a:gd name="T7" fmla="*/ 0 h 4"/>
                <a:gd name="T8" fmla="*/ 1 w 2791"/>
                <a:gd name="T9" fmla="*/ 0 h 4"/>
                <a:gd name="T10" fmla="*/ 2 w 2791"/>
                <a:gd name="T11" fmla="*/ 4 h 4"/>
                <a:gd name="T12" fmla="*/ 2789 w 2791"/>
                <a:gd name="T13" fmla="*/ 4 h 4"/>
                <a:gd name="T14" fmla="*/ 2790 w 2791"/>
                <a:gd name="T15" fmla="*/ 0 h 4"/>
                <a:gd name="T16" fmla="*/ 2273 w 2791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91" h="4">
                  <a:moveTo>
                    <a:pt x="2273" y="0"/>
                  </a:moveTo>
                  <a:cubicBezTo>
                    <a:pt x="1981" y="0"/>
                    <a:pt x="1981" y="0"/>
                    <a:pt x="1981" y="0"/>
                  </a:cubicBezTo>
                  <a:cubicBezTo>
                    <a:pt x="810" y="0"/>
                    <a:pt x="810" y="0"/>
                    <a:pt x="810" y="0"/>
                  </a:cubicBezTo>
                  <a:cubicBezTo>
                    <a:pt x="518" y="0"/>
                    <a:pt x="518" y="0"/>
                    <a:pt x="518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2"/>
                    <a:pt x="2" y="4"/>
                  </a:cubicBezTo>
                  <a:cubicBezTo>
                    <a:pt x="2789" y="4"/>
                    <a:pt x="2789" y="4"/>
                    <a:pt x="2789" y="4"/>
                  </a:cubicBezTo>
                  <a:cubicBezTo>
                    <a:pt x="2791" y="2"/>
                    <a:pt x="2790" y="0"/>
                    <a:pt x="2790" y="0"/>
                  </a:cubicBezTo>
                  <a:lnTo>
                    <a:pt x="2273" y="0"/>
                  </a:ln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67">
              <a:extLst>
                <a:ext uri="{FF2B5EF4-FFF2-40B4-BE49-F238E27FC236}">
                  <a16:creationId xmlns:a16="http://schemas.microsoft.com/office/drawing/2014/main" id="{7FCC7714-9F65-4D6C-B1F4-474795724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0627" y="11088886"/>
              <a:ext cx="2262188" cy="82550"/>
            </a:xfrm>
            <a:custGeom>
              <a:avLst/>
              <a:gdLst>
                <a:gd name="T0" fmla="*/ 0 w 465"/>
                <a:gd name="T1" fmla="*/ 0 h 17"/>
                <a:gd name="T2" fmla="*/ 0 w 465"/>
                <a:gd name="T3" fmla="*/ 6 h 17"/>
                <a:gd name="T4" fmla="*/ 48 w 465"/>
                <a:gd name="T5" fmla="*/ 17 h 17"/>
                <a:gd name="T6" fmla="*/ 201 w 465"/>
                <a:gd name="T7" fmla="*/ 17 h 17"/>
                <a:gd name="T8" fmla="*/ 264 w 465"/>
                <a:gd name="T9" fmla="*/ 17 h 17"/>
                <a:gd name="T10" fmla="*/ 417 w 465"/>
                <a:gd name="T11" fmla="*/ 17 h 17"/>
                <a:gd name="T12" fmla="*/ 465 w 465"/>
                <a:gd name="T13" fmla="*/ 6 h 17"/>
                <a:gd name="T14" fmla="*/ 465 w 465"/>
                <a:gd name="T15" fmla="*/ 0 h 17"/>
                <a:gd name="T16" fmla="*/ 0 w 465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5" h="17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8" y="17"/>
                    <a:pt x="48" y="17"/>
                  </a:cubicBezTo>
                  <a:cubicBezTo>
                    <a:pt x="72" y="17"/>
                    <a:pt x="146" y="17"/>
                    <a:pt x="201" y="17"/>
                  </a:cubicBezTo>
                  <a:cubicBezTo>
                    <a:pt x="237" y="17"/>
                    <a:pt x="264" y="17"/>
                    <a:pt x="264" y="17"/>
                  </a:cubicBezTo>
                  <a:cubicBezTo>
                    <a:pt x="319" y="17"/>
                    <a:pt x="393" y="17"/>
                    <a:pt x="417" y="17"/>
                  </a:cubicBezTo>
                  <a:cubicBezTo>
                    <a:pt x="457" y="17"/>
                    <a:pt x="465" y="6"/>
                    <a:pt x="465" y="6"/>
                  </a:cubicBezTo>
                  <a:cubicBezTo>
                    <a:pt x="465" y="0"/>
                    <a:pt x="465" y="0"/>
                    <a:pt x="4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2F3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Freeform 68">
              <a:extLst>
                <a:ext uri="{FF2B5EF4-FFF2-40B4-BE49-F238E27FC236}">
                  <a16:creationId xmlns:a16="http://schemas.microsoft.com/office/drawing/2014/main" id="{C427DA3E-A90D-4F99-B44B-CA66365BE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0627" y="11088886"/>
              <a:ext cx="2262188" cy="82550"/>
            </a:xfrm>
            <a:custGeom>
              <a:avLst/>
              <a:gdLst>
                <a:gd name="T0" fmla="*/ 0 w 465"/>
                <a:gd name="T1" fmla="*/ 0 h 17"/>
                <a:gd name="T2" fmla="*/ 0 w 465"/>
                <a:gd name="T3" fmla="*/ 6 h 17"/>
                <a:gd name="T4" fmla="*/ 48 w 465"/>
                <a:gd name="T5" fmla="*/ 17 h 17"/>
                <a:gd name="T6" fmla="*/ 201 w 465"/>
                <a:gd name="T7" fmla="*/ 17 h 17"/>
                <a:gd name="T8" fmla="*/ 264 w 465"/>
                <a:gd name="T9" fmla="*/ 17 h 17"/>
                <a:gd name="T10" fmla="*/ 417 w 465"/>
                <a:gd name="T11" fmla="*/ 17 h 17"/>
                <a:gd name="T12" fmla="*/ 465 w 465"/>
                <a:gd name="T13" fmla="*/ 6 h 17"/>
                <a:gd name="T14" fmla="*/ 465 w 465"/>
                <a:gd name="T15" fmla="*/ 0 h 17"/>
                <a:gd name="T16" fmla="*/ 0 w 465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5" h="17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8" y="17"/>
                    <a:pt x="48" y="17"/>
                  </a:cubicBezTo>
                  <a:cubicBezTo>
                    <a:pt x="72" y="17"/>
                    <a:pt x="146" y="17"/>
                    <a:pt x="201" y="17"/>
                  </a:cubicBezTo>
                  <a:cubicBezTo>
                    <a:pt x="237" y="17"/>
                    <a:pt x="264" y="17"/>
                    <a:pt x="264" y="17"/>
                  </a:cubicBezTo>
                  <a:cubicBezTo>
                    <a:pt x="319" y="17"/>
                    <a:pt x="393" y="17"/>
                    <a:pt x="417" y="17"/>
                  </a:cubicBezTo>
                  <a:cubicBezTo>
                    <a:pt x="457" y="17"/>
                    <a:pt x="465" y="6"/>
                    <a:pt x="465" y="6"/>
                  </a:cubicBezTo>
                  <a:cubicBezTo>
                    <a:pt x="465" y="0"/>
                    <a:pt x="465" y="0"/>
                    <a:pt x="4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8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Freeform 69">
              <a:extLst>
                <a:ext uri="{FF2B5EF4-FFF2-40B4-BE49-F238E27FC236}">
                  <a16:creationId xmlns:a16="http://schemas.microsoft.com/office/drawing/2014/main" id="{3835ABEB-1A92-423D-8AD5-F5C246D237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0627" y="11088886"/>
              <a:ext cx="2262188" cy="82550"/>
            </a:xfrm>
            <a:custGeom>
              <a:avLst/>
              <a:gdLst>
                <a:gd name="T0" fmla="*/ 417 w 465"/>
                <a:gd name="T1" fmla="*/ 14 h 17"/>
                <a:gd name="T2" fmla="*/ 264 w 465"/>
                <a:gd name="T3" fmla="*/ 14 h 17"/>
                <a:gd name="T4" fmla="*/ 201 w 465"/>
                <a:gd name="T5" fmla="*/ 14 h 17"/>
                <a:gd name="T6" fmla="*/ 48 w 465"/>
                <a:gd name="T7" fmla="*/ 14 h 17"/>
                <a:gd name="T8" fmla="*/ 0 w 465"/>
                <a:gd name="T9" fmla="*/ 0 h 17"/>
                <a:gd name="T10" fmla="*/ 0 w 465"/>
                <a:gd name="T11" fmla="*/ 0 h 17"/>
                <a:gd name="T12" fmla="*/ 0 w 465"/>
                <a:gd name="T13" fmla="*/ 6 h 17"/>
                <a:gd name="T14" fmla="*/ 48 w 465"/>
                <a:gd name="T15" fmla="*/ 17 h 17"/>
                <a:gd name="T16" fmla="*/ 201 w 465"/>
                <a:gd name="T17" fmla="*/ 17 h 17"/>
                <a:gd name="T18" fmla="*/ 264 w 465"/>
                <a:gd name="T19" fmla="*/ 17 h 17"/>
                <a:gd name="T20" fmla="*/ 417 w 465"/>
                <a:gd name="T21" fmla="*/ 17 h 17"/>
                <a:gd name="T22" fmla="*/ 465 w 465"/>
                <a:gd name="T23" fmla="*/ 6 h 17"/>
                <a:gd name="T24" fmla="*/ 465 w 465"/>
                <a:gd name="T25" fmla="*/ 0 h 17"/>
                <a:gd name="T26" fmla="*/ 465 w 465"/>
                <a:gd name="T27" fmla="*/ 0 h 17"/>
                <a:gd name="T28" fmla="*/ 417 w 465"/>
                <a:gd name="T29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5" h="17">
                  <a:moveTo>
                    <a:pt x="417" y="14"/>
                  </a:moveTo>
                  <a:cubicBezTo>
                    <a:pt x="393" y="14"/>
                    <a:pt x="319" y="14"/>
                    <a:pt x="264" y="14"/>
                  </a:cubicBezTo>
                  <a:cubicBezTo>
                    <a:pt x="264" y="14"/>
                    <a:pt x="237" y="14"/>
                    <a:pt x="201" y="14"/>
                  </a:cubicBezTo>
                  <a:cubicBezTo>
                    <a:pt x="146" y="14"/>
                    <a:pt x="72" y="14"/>
                    <a:pt x="48" y="14"/>
                  </a:cubicBezTo>
                  <a:cubicBezTo>
                    <a:pt x="22" y="14"/>
                    <a:pt x="6" y="6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8" y="17"/>
                    <a:pt x="48" y="17"/>
                  </a:cubicBezTo>
                  <a:cubicBezTo>
                    <a:pt x="72" y="17"/>
                    <a:pt x="146" y="17"/>
                    <a:pt x="201" y="17"/>
                  </a:cubicBezTo>
                  <a:cubicBezTo>
                    <a:pt x="237" y="17"/>
                    <a:pt x="264" y="17"/>
                    <a:pt x="264" y="17"/>
                  </a:cubicBezTo>
                  <a:cubicBezTo>
                    <a:pt x="319" y="17"/>
                    <a:pt x="393" y="17"/>
                    <a:pt x="417" y="17"/>
                  </a:cubicBezTo>
                  <a:cubicBezTo>
                    <a:pt x="457" y="17"/>
                    <a:pt x="465" y="6"/>
                    <a:pt x="465" y="6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459" y="6"/>
                    <a:pt x="443" y="14"/>
                    <a:pt x="417" y="14"/>
                  </a:cubicBezTo>
                  <a:close/>
                </a:path>
              </a:pathLst>
            </a:custGeom>
            <a:solidFill>
              <a:srgbClr val="C1C1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Oval 70">
              <a:extLst>
                <a:ext uri="{FF2B5EF4-FFF2-40B4-BE49-F238E27FC236}">
                  <a16:creationId xmlns:a16="http://schemas.microsoft.com/office/drawing/2014/main" id="{68D9BAEC-BE7C-4FCE-9EFB-CF53E243F6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20315" y="11196836"/>
              <a:ext cx="150813" cy="38100"/>
            </a:xfrm>
            <a:prstGeom prst="ellipse">
              <a:avLst/>
            </a:prstGeom>
            <a:solidFill>
              <a:srgbClr val="838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Oval 71">
              <a:extLst>
                <a:ext uri="{FF2B5EF4-FFF2-40B4-BE49-F238E27FC236}">
                  <a16:creationId xmlns:a16="http://schemas.microsoft.com/office/drawing/2014/main" id="{45CC1B32-138F-4D16-9162-6362C86923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28815" y="11196836"/>
              <a:ext cx="150813" cy="38100"/>
            </a:xfrm>
            <a:prstGeom prst="ellipse">
              <a:avLst/>
            </a:prstGeom>
            <a:solidFill>
              <a:srgbClr val="838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1" name="Рисунок 21">
            <a:extLst>
              <a:ext uri="{FF2B5EF4-FFF2-40B4-BE49-F238E27FC236}">
                <a16:creationId xmlns:a16="http://schemas.microsoft.com/office/drawing/2014/main" id="{FABDB891-54AE-4F1A-A4F4-03820BAAFD4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7141658" y="1275756"/>
            <a:ext cx="4004685" cy="2544277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3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503627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with subtitle and content Layout">
    <p:bg>
      <p:bgPr>
        <a:solidFill>
          <a:srgbClr val="F9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383309"/>
            <a:ext cx="8361170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9" name="Группа 17">
            <a:extLst>
              <a:ext uri="{FF2B5EF4-FFF2-40B4-BE49-F238E27FC236}">
                <a16:creationId xmlns:a16="http://schemas.microsoft.com/office/drawing/2014/main" id="{65E9E904-5065-47EE-88A6-251FF2AE0E55}"/>
              </a:ext>
            </a:extLst>
          </p:cNvPr>
          <p:cNvGrpSpPr/>
          <p:nvPr userDrawn="1"/>
        </p:nvGrpSpPr>
        <p:grpSpPr>
          <a:xfrm>
            <a:off x="-2872369" y="1062166"/>
            <a:ext cx="5764543" cy="3131985"/>
            <a:chOff x="7068965" y="3978474"/>
            <a:chExt cx="13623925" cy="7402512"/>
          </a:xfrm>
          <a:effectLst>
            <a:reflection blurRad="50800" stA="36000" endPos="15000" dir="5400000" sy="-100000" algn="bl" rotWithShape="0"/>
          </a:effectLst>
        </p:grpSpPr>
        <p:sp>
          <p:nvSpPr>
            <p:cNvPr id="10" name="Freeform 60">
              <a:extLst>
                <a:ext uri="{FF2B5EF4-FFF2-40B4-BE49-F238E27FC236}">
                  <a16:creationId xmlns:a16="http://schemas.microsoft.com/office/drawing/2014/main" id="{896DFEFE-6741-42DC-94E2-521D328EA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4402" y="3978474"/>
              <a:ext cx="10433050" cy="7237413"/>
            </a:xfrm>
            <a:custGeom>
              <a:avLst/>
              <a:gdLst>
                <a:gd name="T0" fmla="*/ 2075 w 2145"/>
                <a:gd name="T1" fmla="*/ 1488 h 1488"/>
                <a:gd name="T2" fmla="*/ 70 w 2145"/>
                <a:gd name="T3" fmla="*/ 1488 h 1488"/>
                <a:gd name="T4" fmla="*/ 0 w 2145"/>
                <a:gd name="T5" fmla="*/ 1418 h 1488"/>
                <a:gd name="T6" fmla="*/ 0 w 2145"/>
                <a:gd name="T7" fmla="*/ 71 h 1488"/>
                <a:gd name="T8" fmla="*/ 70 w 2145"/>
                <a:gd name="T9" fmla="*/ 0 h 1488"/>
                <a:gd name="T10" fmla="*/ 2075 w 2145"/>
                <a:gd name="T11" fmla="*/ 0 h 1488"/>
                <a:gd name="T12" fmla="*/ 2145 w 2145"/>
                <a:gd name="T13" fmla="*/ 71 h 1488"/>
                <a:gd name="T14" fmla="*/ 2145 w 2145"/>
                <a:gd name="T15" fmla="*/ 1418 h 1488"/>
                <a:gd name="T16" fmla="*/ 2075 w 2145"/>
                <a:gd name="T17" fmla="*/ 1488 h 1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5" h="1488">
                  <a:moveTo>
                    <a:pt x="2075" y="1488"/>
                  </a:moveTo>
                  <a:cubicBezTo>
                    <a:pt x="70" y="1488"/>
                    <a:pt x="70" y="1488"/>
                    <a:pt x="70" y="1488"/>
                  </a:cubicBezTo>
                  <a:cubicBezTo>
                    <a:pt x="32" y="1488"/>
                    <a:pt x="0" y="1457"/>
                    <a:pt x="0" y="1418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0" y="0"/>
                  </a:cubicBezTo>
                  <a:cubicBezTo>
                    <a:pt x="2075" y="0"/>
                    <a:pt x="2075" y="0"/>
                    <a:pt x="2075" y="0"/>
                  </a:cubicBezTo>
                  <a:cubicBezTo>
                    <a:pt x="2113" y="0"/>
                    <a:pt x="2145" y="32"/>
                    <a:pt x="2145" y="71"/>
                  </a:cubicBezTo>
                  <a:cubicBezTo>
                    <a:pt x="2145" y="1418"/>
                    <a:pt x="2145" y="1418"/>
                    <a:pt x="2145" y="1418"/>
                  </a:cubicBezTo>
                  <a:cubicBezTo>
                    <a:pt x="2145" y="1457"/>
                    <a:pt x="2113" y="1488"/>
                    <a:pt x="2075" y="148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" name="Freeform 61">
              <a:extLst>
                <a:ext uri="{FF2B5EF4-FFF2-40B4-BE49-F238E27FC236}">
                  <a16:creationId xmlns:a16="http://schemas.microsoft.com/office/drawing/2014/main" id="{66DDB4CF-0AB5-4D14-83ED-F509DE1C3D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99327" y="4011811"/>
              <a:ext cx="10364788" cy="7173913"/>
            </a:xfrm>
            <a:custGeom>
              <a:avLst/>
              <a:gdLst>
                <a:gd name="T0" fmla="*/ 2068 w 2131"/>
                <a:gd name="T1" fmla="*/ 1475 h 1475"/>
                <a:gd name="T2" fmla="*/ 63 w 2131"/>
                <a:gd name="T3" fmla="*/ 1475 h 1475"/>
                <a:gd name="T4" fmla="*/ 0 w 2131"/>
                <a:gd name="T5" fmla="*/ 1411 h 1475"/>
                <a:gd name="T6" fmla="*/ 0 w 2131"/>
                <a:gd name="T7" fmla="*/ 64 h 1475"/>
                <a:gd name="T8" fmla="*/ 63 w 2131"/>
                <a:gd name="T9" fmla="*/ 0 h 1475"/>
                <a:gd name="T10" fmla="*/ 2068 w 2131"/>
                <a:gd name="T11" fmla="*/ 0 h 1475"/>
                <a:gd name="T12" fmla="*/ 2131 w 2131"/>
                <a:gd name="T13" fmla="*/ 64 h 1475"/>
                <a:gd name="T14" fmla="*/ 2131 w 2131"/>
                <a:gd name="T15" fmla="*/ 1411 h 1475"/>
                <a:gd name="T16" fmla="*/ 2068 w 2131"/>
                <a:gd name="T17" fmla="*/ 1475 h 1475"/>
                <a:gd name="T18" fmla="*/ 63 w 2131"/>
                <a:gd name="T19" fmla="*/ 3 h 1475"/>
                <a:gd name="T20" fmla="*/ 3 w 2131"/>
                <a:gd name="T21" fmla="*/ 64 h 1475"/>
                <a:gd name="T22" fmla="*/ 3 w 2131"/>
                <a:gd name="T23" fmla="*/ 1411 h 1475"/>
                <a:gd name="T24" fmla="*/ 63 w 2131"/>
                <a:gd name="T25" fmla="*/ 1472 h 1475"/>
                <a:gd name="T26" fmla="*/ 2068 w 2131"/>
                <a:gd name="T27" fmla="*/ 1472 h 1475"/>
                <a:gd name="T28" fmla="*/ 2128 w 2131"/>
                <a:gd name="T29" fmla="*/ 1411 h 1475"/>
                <a:gd name="T30" fmla="*/ 2128 w 2131"/>
                <a:gd name="T31" fmla="*/ 64 h 1475"/>
                <a:gd name="T32" fmla="*/ 2068 w 2131"/>
                <a:gd name="T33" fmla="*/ 3 h 1475"/>
                <a:gd name="T34" fmla="*/ 63 w 2131"/>
                <a:gd name="T35" fmla="*/ 3 h 1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31" h="1475">
                  <a:moveTo>
                    <a:pt x="2068" y="1475"/>
                  </a:moveTo>
                  <a:cubicBezTo>
                    <a:pt x="63" y="1475"/>
                    <a:pt x="63" y="1475"/>
                    <a:pt x="63" y="1475"/>
                  </a:cubicBezTo>
                  <a:cubicBezTo>
                    <a:pt x="28" y="1475"/>
                    <a:pt x="0" y="1446"/>
                    <a:pt x="0" y="1411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3" y="0"/>
                  </a:cubicBezTo>
                  <a:cubicBezTo>
                    <a:pt x="2068" y="0"/>
                    <a:pt x="2068" y="0"/>
                    <a:pt x="2068" y="0"/>
                  </a:cubicBezTo>
                  <a:cubicBezTo>
                    <a:pt x="2103" y="0"/>
                    <a:pt x="2131" y="29"/>
                    <a:pt x="2131" y="64"/>
                  </a:cubicBezTo>
                  <a:cubicBezTo>
                    <a:pt x="2131" y="1411"/>
                    <a:pt x="2131" y="1411"/>
                    <a:pt x="2131" y="1411"/>
                  </a:cubicBezTo>
                  <a:cubicBezTo>
                    <a:pt x="2131" y="1446"/>
                    <a:pt x="2103" y="1475"/>
                    <a:pt x="2068" y="1475"/>
                  </a:cubicBezTo>
                  <a:close/>
                  <a:moveTo>
                    <a:pt x="63" y="3"/>
                  </a:moveTo>
                  <a:cubicBezTo>
                    <a:pt x="30" y="3"/>
                    <a:pt x="3" y="30"/>
                    <a:pt x="3" y="64"/>
                  </a:cubicBezTo>
                  <a:cubicBezTo>
                    <a:pt x="3" y="1411"/>
                    <a:pt x="3" y="1411"/>
                    <a:pt x="3" y="1411"/>
                  </a:cubicBezTo>
                  <a:cubicBezTo>
                    <a:pt x="3" y="1444"/>
                    <a:pt x="30" y="1472"/>
                    <a:pt x="63" y="1472"/>
                  </a:cubicBezTo>
                  <a:cubicBezTo>
                    <a:pt x="2068" y="1472"/>
                    <a:pt x="2068" y="1472"/>
                    <a:pt x="2068" y="1472"/>
                  </a:cubicBezTo>
                  <a:cubicBezTo>
                    <a:pt x="2101" y="1472"/>
                    <a:pt x="2128" y="1444"/>
                    <a:pt x="2128" y="1411"/>
                  </a:cubicBezTo>
                  <a:cubicBezTo>
                    <a:pt x="2128" y="64"/>
                    <a:pt x="2128" y="64"/>
                    <a:pt x="2128" y="64"/>
                  </a:cubicBezTo>
                  <a:cubicBezTo>
                    <a:pt x="2128" y="30"/>
                    <a:pt x="2101" y="3"/>
                    <a:pt x="2068" y="3"/>
                  </a:cubicBezTo>
                  <a:lnTo>
                    <a:pt x="63" y="3"/>
                  </a:lnTo>
                  <a:close/>
                </a:path>
              </a:pathLst>
            </a:custGeom>
            <a:solidFill>
              <a:srgbClr val="A8A8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" name="Rectangle 62">
              <a:extLst>
                <a:ext uri="{FF2B5EF4-FFF2-40B4-BE49-F238E27FC236}">
                  <a16:creationId xmlns:a16="http://schemas.microsoft.com/office/drawing/2014/main" id="{96EFBBCE-35F4-46B1-823E-1E5E836088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66052" y="4483299"/>
              <a:ext cx="9431338" cy="6002338"/>
            </a:xfrm>
            <a:prstGeom prst="rect">
              <a:avLst/>
            </a:prstGeom>
            <a:solidFill>
              <a:srgbClr val="619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Freeform 63">
              <a:extLst>
                <a:ext uri="{FF2B5EF4-FFF2-40B4-BE49-F238E27FC236}">
                  <a16:creationId xmlns:a16="http://schemas.microsoft.com/office/drawing/2014/main" id="{557D1A31-7AF4-43B1-A447-1DA8491DAF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8965" y="11088886"/>
              <a:ext cx="13623925" cy="292100"/>
            </a:xfrm>
            <a:custGeom>
              <a:avLst/>
              <a:gdLst>
                <a:gd name="T0" fmla="*/ 2795 w 2801"/>
                <a:gd name="T1" fmla="*/ 0 h 60"/>
                <a:gd name="T2" fmla="*/ 2278 w 2801"/>
                <a:gd name="T3" fmla="*/ 0 h 60"/>
                <a:gd name="T4" fmla="*/ 1986 w 2801"/>
                <a:gd name="T5" fmla="*/ 0 h 60"/>
                <a:gd name="T6" fmla="*/ 815 w 2801"/>
                <a:gd name="T7" fmla="*/ 0 h 60"/>
                <a:gd name="T8" fmla="*/ 523 w 2801"/>
                <a:gd name="T9" fmla="*/ 0 h 60"/>
                <a:gd name="T10" fmla="*/ 6 w 2801"/>
                <a:gd name="T11" fmla="*/ 0 h 60"/>
                <a:gd name="T12" fmla="*/ 126 w 2801"/>
                <a:gd name="T13" fmla="*/ 38 h 60"/>
                <a:gd name="T14" fmla="*/ 484 w 2801"/>
                <a:gd name="T15" fmla="*/ 60 h 60"/>
                <a:gd name="T16" fmla="*/ 815 w 2801"/>
                <a:gd name="T17" fmla="*/ 60 h 60"/>
                <a:gd name="T18" fmla="*/ 1986 w 2801"/>
                <a:gd name="T19" fmla="*/ 60 h 60"/>
                <a:gd name="T20" fmla="*/ 2317 w 2801"/>
                <a:gd name="T21" fmla="*/ 60 h 60"/>
                <a:gd name="T22" fmla="*/ 2675 w 2801"/>
                <a:gd name="T23" fmla="*/ 38 h 60"/>
                <a:gd name="T24" fmla="*/ 2795 w 2801"/>
                <a:gd name="T2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01" h="60">
                  <a:moveTo>
                    <a:pt x="2795" y="0"/>
                  </a:moveTo>
                  <a:cubicBezTo>
                    <a:pt x="2278" y="0"/>
                    <a:pt x="2278" y="0"/>
                    <a:pt x="2278" y="0"/>
                  </a:cubicBezTo>
                  <a:cubicBezTo>
                    <a:pt x="1986" y="0"/>
                    <a:pt x="1986" y="0"/>
                    <a:pt x="1986" y="0"/>
                  </a:cubicBezTo>
                  <a:cubicBezTo>
                    <a:pt x="815" y="0"/>
                    <a:pt x="815" y="0"/>
                    <a:pt x="815" y="0"/>
                  </a:cubicBezTo>
                  <a:cubicBezTo>
                    <a:pt x="523" y="0"/>
                    <a:pt x="523" y="0"/>
                    <a:pt x="52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0" y="21"/>
                    <a:pt x="126" y="38"/>
                  </a:cubicBezTo>
                  <a:cubicBezTo>
                    <a:pt x="252" y="55"/>
                    <a:pt x="393" y="60"/>
                    <a:pt x="484" y="60"/>
                  </a:cubicBezTo>
                  <a:cubicBezTo>
                    <a:pt x="544" y="60"/>
                    <a:pt x="708" y="60"/>
                    <a:pt x="815" y="60"/>
                  </a:cubicBezTo>
                  <a:cubicBezTo>
                    <a:pt x="872" y="60"/>
                    <a:pt x="1986" y="60"/>
                    <a:pt x="1986" y="60"/>
                  </a:cubicBezTo>
                  <a:cubicBezTo>
                    <a:pt x="2093" y="60"/>
                    <a:pt x="2257" y="60"/>
                    <a:pt x="2317" y="60"/>
                  </a:cubicBezTo>
                  <a:cubicBezTo>
                    <a:pt x="2408" y="60"/>
                    <a:pt x="2549" y="55"/>
                    <a:pt x="2675" y="38"/>
                  </a:cubicBezTo>
                  <a:cubicBezTo>
                    <a:pt x="2801" y="21"/>
                    <a:pt x="2795" y="0"/>
                    <a:pt x="2795" y="0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64">
              <a:extLst>
                <a:ext uri="{FF2B5EF4-FFF2-40B4-BE49-F238E27FC236}">
                  <a16:creationId xmlns:a16="http://schemas.microsoft.com/office/drawing/2014/main" id="{C5142F47-2E3F-4A2B-A885-CAF7ACBF5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0165" y="11288911"/>
              <a:ext cx="12203113" cy="92075"/>
            </a:xfrm>
            <a:custGeom>
              <a:avLst/>
              <a:gdLst>
                <a:gd name="T0" fmla="*/ 2198 w 2509"/>
                <a:gd name="T1" fmla="*/ 11 h 19"/>
                <a:gd name="T2" fmla="*/ 1857 w 2509"/>
                <a:gd name="T3" fmla="*/ 11 h 19"/>
                <a:gd name="T4" fmla="*/ 652 w 2509"/>
                <a:gd name="T5" fmla="*/ 11 h 19"/>
                <a:gd name="T6" fmla="*/ 311 w 2509"/>
                <a:gd name="T7" fmla="*/ 11 h 19"/>
                <a:gd name="T8" fmla="*/ 0 w 2509"/>
                <a:gd name="T9" fmla="*/ 0 h 19"/>
                <a:gd name="T10" fmla="*/ 338 w 2509"/>
                <a:gd name="T11" fmla="*/ 19 h 19"/>
                <a:gd name="T12" fmla="*/ 669 w 2509"/>
                <a:gd name="T13" fmla="*/ 19 h 19"/>
                <a:gd name="T14" fmla="*/ 1840 w 2509"/>
                <a:gd name="T15" fmla="*/ 19 h 19"/>
                <a:gd name="T16" fmla="*/ 2171 w 2509"/>
                <a:gd name="T17" fmla="*/ 19 h 19"/>
                <a:gd name="T18" fmla="*/ 2509 w 2509"/>
                <a:gd name="T19" fmla="*/ 0 h 19"/>
                <a:gd name="T20" fmla="*/ 2198 w 2509"/>
                <a:gd name="T21" fmla="*/ 1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9" h="19">
                  <a:moveTo>
                    <a:pt x="2198" y="11"/>
                  </a:moveTo>
                  <a:cubicBezTo>
                    <a:pt x="2136" y="11"/>
                    <a:pt x="1967" y="11"/>
                    <a:pt x="1857" y="11"/>
                  </a:cubicBezTo>
                  <a:cubicBezTo>
                    <a:pt x="1857" y="11"/>
                    <a:pt x="710" y="11"/>
                    <a:pt x="652" y="11"/>
                  </a:cubicBezTo>
                  <a:cubicBezTo>
                    <a:pt x="542" y="11"/>
                    <a:pt x="373" y="11"/>
                    <a:pt x="311" y="11"/>
                  </a:cubicBezTo>
                  <a:cubicBezTo>
                    <a:pt x="230" y="11"/>
                    <a:pt x="113" y="8"/>
                    <a:pt x="0" y="0"/>
                  </a:cubicBezTo>
                  <a:cubicBezTo>
                    <a:pt x="120" y="14"/>
                    <a:pt x="251" y="19"/>
                    <a:pt x="338" y="19"/>
                  </a:cubicBezTo>
                  <a:cubicBezTo>
                    <a:pt x="398" y="19"/>
                    <a:pt x="562" y="19"/>
                    <a:pt x="669" y="19"/>
                  </a:cubicBezTo>
                  <a:cubicBezTo>
                    <a:pt x="726" y="19"/>
                    <a:pt x="1840" y="19"/>
                    <a:pt x="1840" y="19"/>
                  </a:cubicBezTo>
                  <a:cubicBezTo>
                    <a:pt x="1947" y="19"/>
                    <a:pt x="2111" y="19"/>
                    <a:pt x="2171" y="19"/>
                  </a:cubicBezTo>
                  <a:cubicBezTo>
                    <a:pt x="2258" y="19"/>
                    <a:pt x="2389" y="14"/>
                    <a:pt x="2509" y="0"/>
                  </a:cubicBezTo>
                  <a:cubicBezTo>
                    <a:pt x="2396" y="8"/>
                    <a:pt x="2279" y="11"/>
                    <a:pt x="2198" y="11"/>
                  </a:cubicBezTo>
                  <a:close/>
                </a:path>
              </a:pathLst>
            </a:custGeom>
            <a:solidFill>
              <a:srgbClr val="838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65">
              <a:extLst>
                <a:ext uri="{FF2B5EF4-FFF2-40B4-BE49-F238E27FC236}">
                  <a16:creationId xmlns:a16="http://schemas.microsoft.com/office/drawing/2014/main" id="{6A6FC6C8-A849-42B1-B461-6BDC40A20A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7227" y="11138099"/>
              <a:ext cx="13487400" cy="68263"/>
            </a:xfrm>
            <a:custGeom>
              <a:avLst/>
              <a:gdLst>
                <a:gd name="T0" fmla="*/ 2773 w 2773"/>
                <a:gd name="T1" fmla="*/ 0 h 14"/>
                <a:gd name="T2" fmla="*/ 1627 w 2773"/>
                <a:gd name="T3" fmla="*/ 0 h 14"/>
                <a:gd name="T4" fmla="*/ 1618 w 2773"/>
                <a:gd name="T5" fmla="*/ 3 h 14"/>
                <a:gd name="T6" fmla="*/ 1565 w 2773"/>
                <a:gd name="T7" fmla="*/ 13 h 14"/>
                <a:gd name="T8" fmla="*/ 1208 w 2773"/>
                <a:gd name="T9" fmla="*/ 13 h 14"/>
                <a:gd name="T10" fmla="*/ 1155 w 2773"/>
                <a:gd name="T11" fmla="*/ 3 h 14"/>
                <a:gd name="T12" fmla="*/ 1146 w 2773"/>
                <a:gd name="T13" fmla="*/ 0 h 14"/>
                <a:gd name="T14" fmla="*/ 0 w 2773"/>
                <a:gd name="T15" fmla="*/ 0 h 14"/>
                <a:gd name="T16" fmla="*/ 2 w 2773"/>
                <a:gd name="T17" fmla="*/ 1 h 14"/>
                <a:gd name="T18" fmla="*/ 1146 w 2773"/>
                <a:gd name="T19" fmla="*/ 1 h 14"/>
                <a:gd name="T20" fmla="*/ 1154 w 2773"/>
                <a:gd name="T21" fmla="*/ 4 h 14"/>
                <a:gd name="T22" fmla="*/ 1208 w 2773"/>
                <a:gd name="T23" fmla="*/ 14 h 14"/>
                <a:gd name="T24" fmla="*/ 1565 w 2773"/>
                <a:gd name="T25" fmla="*/ 14 h 14"/>
                <a:gd name="T26" fmla="*/ 1619 w 2773"/>
                <a:gd name="T27" fmla="*/ 4 h 14"/>
                <a:gd name="T28" fmla="*/ 1627 w 2773"/>
                <a:gd name="T29" fmla="*/ 1 h 14"/>
                <a:gd name="T30" fmla="*/ 2771 w 2773"/>
                <a:gd name="T31" fmla="*/ 1 h 14"/>
                <a:gd name="T32" fmla="*/ 2773 w 2773"/>
                <a:gd name="T3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73" h="14">
                  <a:moveTo>
                    <a:pt x="2773" y="0"/>
                  </a:moveTo>
                  <a:cubicBezTo>
                    <a:pt x="1627" y="0"/>
                    <a:pt x="1627" y="0"/>
                    <a:pt x="1627" y="0"/>
                  </a:cubicBezTo>
                  <a:cubicBezTo>
                    <a:pt x="1624" y="0"/>
                    <a:pt x="1621" y="1"/>
                    <a:pt x="1618" y="3"/>
                  </a:cubicBezTo>
                  <a:cubicBezTo>
                    <a:pt x="1613" y="7"/>
                    <a:pt x="1600" y="13"/>
                    <a:pt x="1565" y="13"/>
                  </a:cubicBezTo>
                  <a:cubicBezTo>
                    <a:pt x="1208" y="13"/>
                    <a:pt x="1208" y="13"/>
                    <a:pt x="1208" y="13"/>
                  </a:cubicBezTo>
                  <a:cubicBezTo>
                    <a:pt x="1173" y="13"/>
                    <a:pt x="1160" y="7"/>
                    <a:pt x="1155" y="3"/>
                  </a:cubicBezTo>
                  <a:cubicBezTo>
                    <a:pt x="1152" y="1"/>
                    <a:pt x="1149" y="0"/>
                    <a:pt x="114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1146" y="1"/>
                    <a:pt x="1146" y="1"/>
                    <a:pt x="1146" y="1"/>
                  </a:cubicBezTo>
                  <a:cubicBezTo>
                    <a:pt x="1149" y="1"/>
                    <a:pt x="1152" y="2"/>
                    <a:pt x="1154" y="4"/>
                  </a:cubicBezTo>
                  <a:cubicBezTo>
                    <a:pt x="1159" y="8"/>
                    <a:pt x="1173" y="14"/>
                    <a:pt x="1208" y="14"/>
                  </a:cubicBezTo>
                  <a:cubicBezTo>
                    <a:pt x="1565" y="14"/>
                    <a:pt x="1565" y="14"/>
                    <a:pt x="1565" y="14"/>
                  </a:cubicBezTo>
                  <a:cubicBezTo>
                    <a:pt x="1600" y="14"/>
                    <a:pt x="1614" y="8"/>
                    <a:pt x="1619" y="4"/>
                  </a:cubicBezTo>
                  <a:cubicBezTo>
                    <a:pt x="1621" y="2"/>
                    <a:pt x="1624" y="1"/>
                    <a:pt x="1627" y="1"/>
                  </a:cubicBezTo>
                  <a:cubicBezTo>
                    <a:pt x="2771" y="1"/>
                    <a:pt x="2771" y="1"/>
                    <a:pt x="2771" y="1"/>
                  </a:cubicBezTo>
                  <a:cubicBezTo>
                    <a:pt x="2772" y="1"/>
                    <a:pt x="2773" y="1"/>
                    <a:pt x="2773" y="0"/>
                  </a:cubicBezTo>
                  <a:close/>
                </a:path>
              </a:pathLst>
            </a:custGeom>
            <a:solidFill>
              <a:srgbClr val="E4E4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66">
              <a:extLst>
                <a:ext uri="{FF2B5EF4-FFF2-40B4-BE49-F238E27FC236}">
                  <a16:creationId xmlns:a16="http://schemas.microsoft.com/office/drawing/2014/main" id="{9CB33C75-B7FE-4F03-BED7-8F012DD85F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4365" y="11088886"/>
              <a:ext cx="13574713" cy="19050"/>
            </a:xfrm>
            <a:custGeom>
              <a:avLst/>
              <a:gdLst>
                <a:gd name="T0" fmla="*/ 2273 w 2791"/>
                <a:gd name="T1" fmla="*/ 0 h 4"/>
                <a:gd name="T2" fmla="*/ 1981 w 2791"/>
                <a:gd name="T3" fmla="*/ 0 h 4"/>
                <a:gd name="T4" fmla="*/ 810 w 2791"/>
                <a:gd name="T5" fmla="*/ 0 h 4"/>
                <a:gd name="T6" fmla="*/ 518 w 2791"/>
                <a:gd name="T7" fmla="*/ 0 h 4"/>
                <a:gd name="T8" fmla="*/ 1 w 2791"/>
                <a:gd name="T9" fmla="*/ 0 h 4"/>
                <a:gd name="T10" fmla="*/ 2 w 2791"/>
                <a:gd name="T11" fmla="*/ 4 h 4"/>
                <a:gd name="T12" fmla="*/ 2789 w 2791"/>
                <a:gd name="T13" fmla="*/ 4 h 4"/>
                <a:gd name="T14" fmla="*/ 2790 w 2791"/>
                <a:gd name="T15" fmla="*/ 0 h 4"/>
                <a:gd name="T16" fmla="*/ 2273 w 2791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91" h="4">
                  <a:moveTo>
                    <a:pt x="2273" y="0"/>
                  </a:moveTo>
                  <a:cubicBezTo>
                    <a:pt x="1981" y="0"/>
                    <a:pt x="1981" y="0"/>
                    <a:pt x="1981" y="0"/>
                  </a:cubicBezTo>
                  <a:cubicBezTo>
                    <a:pt x="810" y="0"/>
                    <a:pt x="810" y="0"/>
                    <a:pt x="810" y="0"/>
                  </a:cubicBezTo>
                  <a:cubicBezTo>
                    <a:pt x="518" y="0"/>
                    <a:pt x="518" y="0"/>
                    <a:pt x="518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2"/>
                    <a:pt x="2" y="4"/>
                  </a:cubicBezTo>
                  <a:cubicBezTo>
                    <a:pt x="2789" y="4"/>
                    <a:pt x="2789" y="4"/>
                    <a:pt x="2789" y="4"/>
                  </a:cubicBezTo>
                  <a:cubicBezTo>
                    <a:pt x="2791" y="2"/>
                    <a:pt x="2790" y="0"/>
                    <a:pt x="2790" y="0"/>
                  </a:cubicBezTo>
                  <a:lnTo>
                    <a:pt x="2273" y="0"/>
                  </a:ln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Freeform 67">
              <a:extLst>
                <a:ext uri="{FF2B5EF4-FFF2-40B4-BE49-F238E27FC236}">
                  <a16:creationId xmlns:a16="http://schemas.microsoft.com/office/drawing/2014/main" id="{4B2C877F-1F8F-44BD-8B3C-F2FE47551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0627" y="11088886"/>
              <a:ext cx="2262188" cy="82550"/>
            </a:xfrm>
            <a:custGeom>
              <a:avLst/>
              <a:gdLst>
                <a:gd name="T0" fmla="*/ 0 w 465"/>
                <a:gd name="T1" fmla="*/ 0 h 17"/>
                <a:gd name="T2" fmla="*/ 0 w 465"/>
                <a:gd name="T3" fmla="*/ 6 h 17"/>
                <a:gd name="T4" fmla="*/ 48 w 465"/>
                <a:gd name="T5" fmla="*/ 17 h 17"/>
                <a:gd name="T6" fmla="*/ 201 w 465"/>
                <a:gd name="T7" fmla="*/ 17 h 17"/>
                <a:gd name="T8" fmla="*/ 264 w 465"/>
                <a:gd name="T9" fmla="*/ 17 h 17"/>
                <a:gd name="T10" fmla="*/ 417 w 465"/>
                <a:gd name="T11" fmla="*/ 17 h 17"/>
                <a:gd name="T12" fmla="*/ 465 w 465"/>
                <a:gd name="T13" fmla="*/ 6 h 17"/>
                <a:gd name="T14" fmla="*/ 465 w 465"/>
                <a:gd name="T15" fmla="*/ 0 h 17"/>
                <a:gd name="T16" fmla="*/ 0 w 465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5" h="17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8" y="17"/>
                    <a:pt x="48" y="17"/>
                  </a:cubicBezTo>
                  <a:cubicBezTo>
                    <a:pt x="72" y="17"/>
                    <a:pt x="146" y="17"/>
                    <a:pt x="201" y="17"/>
                  </a:cubicBezTo>
                  <a:cubicBezTo>
                    <a:pt x="237" y="17"/>
                    <a:pt x="264" y="17"/>
                    <a:pt x="264" y="17"/>
                  </a:cubicBezTo>
                  <a:cubicBezTo>
                    <a:pt x="319" y="17"/>
                    <a:pt x="393" y="17"/>
                    <a:pt x="417" y="17"/>
                  </a:cubicBezTo>
                  <a:cubicBezTo>
                    <a:pt x="457" y="17"/>
                    <a:pt x="465" y="6"/>
                    <a:pt x="465" y="6"/>
                  </a:cubicBezTo>
                  <a:cubicBezTo>
                    <a:pt x="465" y="0"/>
                    <a:pt x="465" y="0"/>
                    <a:pt x="4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2F3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Freeform 68">
              <a:extLst>
                <a:ext uri="{FF2B5EF4-FFF2-40B4-BE49-F238E27FC236}">
                  <a16:creationId xmlns:a16="http://schemas.microsoft.com/office/drawing/2014/main" id="{31961D4B-0342-4BF2-9DC1-536A68E8F8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0627" y="11088886"/>
              <a:ext cx="2262188" cy="82550"/>
            </a:xfrm>
            <a:custGeom>
              <a:avLst/>
              <a:gdLst>
                <a:gd name="T0" fmla="*/ 0 w 465"/>
                <a:gd name="T1" fmla="*/ 0 h 17"/>
                <a:gd name="T2" fmla="*/ 0 w 465"/>
                <a:gd name="T3" fmla="*/ 6 h 17"/>
                <a:gd name="T4" fmla="*/ 48 w 465"/>
                <a:gd name="T5" fmla="*/ 17 h 17"/>
                <a:gd name="T6" fmla="*/ 201 w 465"/>
                <a:gd name="T7" fmla="*/ 17 h 17"/>
                <a:gd name="T8" fmla="*/ 264 w 465"/>
                <a:gd name="T9" fmla="*/ 17 h 17"/>
                <a:gd name="T10" fmla="*/ 417 w 465"/>
                <a:gd name="T11" fmla="*/ 17 h 17"/>
                <a:gd name="T12" fmla="*/ 465 w 465"/>
                <a:gd name="T13" fmla="*/ 6 h 17"/>
                <a:gd name="T14" fmla="*/ 465 w 465"/>
                <a:gd name="T15" fmla="*/ 0 h 17"/>
                <a:gd name="T16" fmla="*/ 0 w 465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5" h="17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8" y="17"/>
                    <a:pt x="48" y="17"/>
                  </a:cubicBezTo>
                  <a:cubicBezTo>
                    <a:pt x="72" y="17"/>
                    <a:pt x="146" y="17"/>
                    <a:pt x="201" y="17"/>
                  </a:cubicBezTo>
                  <a:cubicBezTo>
                    <a:pt x="237" y="17"/>
                    <a:pt x="264" y="17"/>
                    <a:pt x="264" y="17"/>
                  </a:cubicBezTo>
                  <a:cubicBezTo>
                    <a:pt x="319" y="17"/>
                    <a:pt x="393" y="17"/>
                    <a:pt x="417" y="17"/>
                  </a:cubicBezTo>
                  <a:cubicBezTo>
                    <a:pt x="457" y="17"/>
                    <a:pt x="465" y="6"/>
                    <a:pt x="465" y="6"/>
                  </a:cubicBezTo>
                  <a:cubicBezTo>
                    <a:pt x="465" y="0"/>
                    <a:pt x="465" y="0"/>
                    <a:pt x="4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8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Freeform 69">
              <a:extLst>
                <a:ext uri="{FF2B5EF4-FFF2-40B4-BE49-F238E27FC236}">
                  <a16:creationId xmlns:a16="http://schemas.microsoft.com/office/drawing/2014/main" id="{96768771-852A-4D05-A3FE-5B6D545735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0627" y="11088886"/>
              <a:ext cx="2262188" cy="82550"/>
            </a:xfrm>
            <a:custGeom>
              <a:avLst/>
              <a:gdLst>
                <a:gd name="T0" fmla="*/ 417 w 465"/>
                <a:gd name="T1" fmla="*/ 14 h 17"/>
                <a:gd name="T2" fmla="*/ 264 w 465"/>
                <a:gd name="T3" fmla="*/ 14 h 17"/>
                <a:gd name="T4" fmla="*/ 201 w 465"/>
                <a:gd name="T5" fmla="*/ 14 h 17"/>
                <a:gd name="T6" fmla="*/ 48 w 465"/>
                <a:gd name="T7" fmla="*/ 14 h 17"/>
                <a:gd name="T8" fmla="*/ 0 w 465"/>
                <a:gd name="T9" fmla="*/ 0 h 17"/>
                <a:gd name="T10" fmla="*/ 0 w 465"/>
                <a:gd name="T11" fmla="*/ 0 h 17"/>
                <a:gd name="T12" fmla="*/ 0 w 465"/>
                <a:gd name="T13" fmla="*/ 6 h 17"/>
                <a:gd name="T14" fmla="*/ 48 w 465"/>
                <a:gd name="T15" fmla="*/ 17 h 17"/>
                <a:gd name="T16" fmla="*/ 201 w 465"/>
                <a:gd name="T17" fmla="*/ 17 h 17"/>
                <a:gd name="T18" fmla="*/ 264 w 465"/>
                <a:gd name="T19" fmla="*/ 17 h 17"/>
                <a:gd name="T20" fmla="*/ 417 w 465"/>
                <a:gd name="T21" fmla="*/ 17 h 17"/>
                <a:gd name="T22" fmla="*/ 465 w 465"/>
                <a:gd name="T23" fmla="*/ 6 h 17"/>
                <a:gd name="T24" fmla="*/ 465 w 465"/>
                <a:gd name="T25" fmla="*/ 0 h 17"/>
                <a:gd name="T26" fmla="*/ 465 w 465"/>
                <a:gd name="T27" fmla="*/ 0 h 17"/>
                <a:gd name="T28" fmla="*/ 417 w 465"/>
                <a:gd name="T29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5" h="17">
                  <a:moveTo>
                    <a:pt x="417" y="14"/>
                  </a:moveTo>
                  <a:cubicBezTo>
                    <a:pt x="393" y="14"/>
                    <a:pt x="319" y="14"/>
                    <a:pt x="264" y="14"/>
                  </a:cubicBezTo>
                  <a:cubicBezTo>
                    <a:pt x="264" y="14"/>
                    <a:pt x="237" y="14"/>
                    <a:pt x="201" y="14"/>
                  </a:cubicBezTo>
                  <a:cubicBezTo>
                    <a:pt x="146" y="14"/>
                    <a:pt x="72" y="14"/>
                    <a:pt x="48" y="14"/>
                  </a:cubicBezTo>
                  <a:cubicBezTo>
                    <a:pt x="22" y="14"/>
                    <a:pt x="6" y="6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8" y="17"/>
                    <a:pt x="48" y="17"/>
                  </a:cubicBezTo>
                  <a:cubicBezTo>
                    <a:pt x="72" y="17"/>
                    <a:pt x="146" y="17"/>
                    <a:pt x="201" y="17"/>
                  </a:cubicBezTo>
                  <a:cubicBezTo>
                    <a:pt x="237" y="17"/>
                    <a:pt x="264" y="17"/>
                    <a:pt x="264" y="17"/>
                  </a:cubicBezTo>
                  <a:cubicBezTo>
                    <a:pt x="319" y="17"/>
                    <a:pt x="393" y="17"/>
                    <a:pt x="417" y="17"/>
                  </a:cubicBezTo>
                  <a:cubicBezTo>
                    <a:pt x="457" y="17"/>
                    <a:pt x="465" y="6"/>
                    <a:pt x="465" y="6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459" y="6"/>
                    <a:pt x="443" y="14"/>
                    <a:pt x="417" y="14"/>
                  </a:cubicBezTo>
                  <a:close/>
                </a:path>
              </a:pathLst>
            </a:custGeom>
            <a:solidFill>
              <a:srgbClr val="C1C1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Oval 70">
              <a:extLst>
                <a:ext uri="{FF2B5EF4-FFF2-40B4-BE49-F238E27FC236}">
                  <a16:creationId xmlns:a16="http://schemas.microsoft.com/office/drawing/2014/main" id="{1AA8314E-5031-41BB-AA83-ACC574BDD4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20315" y="11196836"/>
              <a:ext cx="150813" cy="38100"/>
            </a:xfrm>
            <a:prstGeom prst="ellipse">
              <a:avLst/>
            </a:prstGeom>
            <a:solidFill>
              <a:srgbClr val="838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Oval 71">
              <a:extLst>
                <a:ext uri="{FF2B5EF4-FFF2-40B4-BE49-F238E27FC236}">
                  <a16:creationId xmlns:a16="http://schemas.microsoft.com/office/drawing/2014/main" id="{0A777B7E-D42E-4463-A4E8-7236BDE9B7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28815" y="11196836"/>
              <a:ext cx="150813" cy="38100"/>
            </a:xfrm>
            <a:prstGeom prst="ellipse">
              <a:avLst/>
            </a:prstGeom>
            <a:solidFill>
              <a:srgbClr val="838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2B3A2952-7941-4925-A393-AEE7D471B24C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-1985051" y="1275756"/>
            <a:ext cx="4004685" cy="2544277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3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83338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383309"/>
            <a:ext cx="8361170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654843" y="1105628"/>
            <a:ext cx="4088917" cy="35199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8" name="Группа 30">
            <a:extLst>
              <a:ext uri="{FF2B5EF4-FFF2-40B4-BE49-F238E27FC236}">
                <a16:creationId xmlns:a16="http://schemas.microsoft.com/office/drawing/2014/main" id="{7F6BAECC-1A00-4B78-B414-408462AA59AC}"/>
              </a:ext>
            </a:extLst>
          </p:cNvPr>
          <p:cNvGrpSpPr/>
          <p:nvPr userDrawn="1"/>
        </p:nvGrpSpPr>
        <p:grpSpPr>
          <a:xfrm>
            <a:off x="793174" y="1626755"/>
            <a:ext cx="3402699" cy="2769674"/>
            <a:chOff x="8145290" y="-8926314"/>
            <a:chExt cx="13511213" cy="10998201"/>
          </a:xfrm>
          <a:effectLst>
            <a:reflection blurRad="50800" stA="50000" endPos="11000" dir="5400000" sy="-100000" algn="bl" rotWithShape="0"/>
          </a:effectLst>
        </p:grpSpPr>
        <p:sp>
          <p:nvSpPr>
            <p:cNvPr id="9" name="Freeform 45">
              <a:extLst>
                <a:ext uri="{FF2B5EF4-FFF2-40B4-BE49-F238E27FC236}">
                  <a16:creationId xmlns:a16="http://schemas.microsoft.com/office/drawing/2014/main" id="{150F289F-D787-49C1-A4ED-F7B1A4D04FD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290" y="-8926314"/>
              <a:ext cx="13511213" cy="9247188"/>
            </a:xfrm>
            <a:custGeom>
              <a:avLst/>
              <a:gdLst>
                <a:gd name="T0" fmla="*/ 2710 w 2778"/>
                <a:gd name="T1" fmla="*/ 1901 h 1901"/>
                <a:gd name="T2" fmla="*/ 67 w 2778"/>
                <a:gd name="T3" fmla="*/ 1901 h 1901"/>
                <a:gd name="T4" fmla="*/ 0 w 2778"/>
                <a:gd name="T5" fmla="*/ 1833 h 1901"/>
                <a:gd name="T6" fmla="*/ 0 w 2778"/>
                <a:gd name="T7" fmla="*/ 68 h 1901"/>
                <a:gd name="T8" fmla="*/ 67 w 2778"/>
                <a:gd name="T9" fmla="*/ 0 h 1901"/>
                <a:gd name="T10" fmla="*/ 2710 w 2778"/>
                <a:gd name="T11" fmla="*/ 0 h 1901"/>
                <a:gd name="T12" fmla="*/ 2778 w 2778"/>
                <a:gd name="T13" fmla="*/ 68 h 1901"/>
                <a:gd name="T14" fmla="*/ 2778 w 2778"/>
                <a:gd name="T15" fmla="*/ 1833 h 1901"/>
                <a:gd name="T16" fmla="*/ 2710 w 2778"/>
                <a:gd name="T17" fmla="*/ 1901 h 1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78" h="1901">
                  <a:moveTo>
                    <a:pt x="2710" y="1901"/>
                  </a:moveTo>
                  <a:cubicBezTo>
                    <a:pt x="67" y="1901"/>
                    <a:pt x="67" y="1901"/>
                    <a:pt x="67" y="1901"/>
                  </a:cubicBezTo>
                  <a:cubicBezTo>
                    <a:pt x="30" y="1901"/>
                    <a:pt x="0" y="1871"/>
                    <a:pt x="0" y="1833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2710" y="0"/>
                    <a:pt x="2710" y="0"/>
                    <a:pt x="2710" y="0"/>
                  </a:cubicBezTo>
                  <a:cubicBezTo>
                    <a:pt x="2747" y="0"/>
                    <a:pt x="2778" y="30"/>
                    <a:pt x="2778" y="68"/>
                  </a:cubicBezTo>
                  <a:cubicBezTo>
                    <a:pt x="2778" y="1833"/>
                    <a:pt x="2778" y="1833"/>
                    <a:pt x="2778" y="1833"/>
                  </a:cubicBezTo>
                  <a:cubicBezTo>
                    <a:pt x="2778" y="1871"/>
                    <a:pt x="2747" y="1901"/>
                    <a:pt x="2710" y="1901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" name="Freeform 46">
              <a:extLst>
                <a:ext uri="{FF2B5EF4-FFF2-40B4-BE49-F238E27FC236}">
                  <a16:creationId xmlns:a16="http://schemas.microsoft.com/office/drawing/2014/main" id="{BB23FF1A-0F2A-44FA-B4B3-A863A9AB8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9577" y="-8907264"/>
              <a:ext cx="13477875" cy="8012113"/>
            </a:xfrm>
            <a:custGeom>
              <a:avLst/>
              <a:gdLst>
                <a:gd name="T0" fmla="*/ 2707 w 2771"/>
                <a:gd name="T1" fmla="*/ 0 h 1647"/>
                <a:gd name="T2" fmla="*/ 64 w 2771"/>
                <a:gd name="T3" fmla="*/ 0 h 1647"/>
                <a:gd name="T4" fmla="*/ 0 w 2771"/>
                <a:gd name="T5" fmla="*/ 64 h 1647"/>
                <a:gd name="T6" fmla="*/ 0 w 2771"/>
                <a:gd name="T7" fmla="*/ 1647 h 1647"/>
                <a:gd name="T8" fmla="*/ 2771 w 2771"/>
                <a:gd name="T9" fmla="*/ 1647 h 1647"/>
                <a:gd name="T10" fmla="*/ 2771 w 2771"/>
                <a:gd name="T11" fmla="*/ 64 h 1647"/>
                <a:gd name="T12" fmla="*/ 2707 w 2771"/>
                <a:gd name="T13" fmla="*/ 0 h 16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1" h="1647">
                  <a:moveTo>
                    <a:pt x="2707" y="0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29" y="0"/>
                    <a:pt x="0" y="28"/>
                    <a:pt x="0" y="64"/>
                  </a:cubicBezTo>
                  <a:cubicBezTo>
                    <a:pt x="0" y="1647"/>
                    <a:pt x="0" y="1647"/>
                    <a:pt x="0" y="1647"/>
                  </a:cubicBezTo>
                  <a:cubicBezTo>
                    <a:pt x="2771" y="1647"/>
                    <a:pt x="2771" y="1647"/>
                    <a:pt x="2771" y="1647"/>
                  </a:cubicBezTo>
                  <a:cubicBezTo>
                    <a:pt x="2771" y="64"/>
                    <a:pt x="2771" y="64"/>
                    <a:pt x="2771" y="64"/>
                  </a:cubicBezTo>
                  <a:cubicBezTo>
                    <a:pt x="2771" y="28"/>
                    <a:pt x="2743" y="0"/>
                    <a:pt x="2707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  <a:alpha val="14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" name="Freeform 48">
              <a:extLst>
                <a:ext uri="{FF2B5EF4-FFF2-40B4-BE49-F238E27FC236}">
                  <a16:creationId xmlns:a16="http://schemas.microsoft.com/office/drawing/2014/main" id="{13E8C1BB-D4DA-4DFA-9E93-E48EFB699F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71502" y="-506214"/>
              <a:ext cx="457200" cy="407988"/>
            </a:xfrm>
            <a:custGeom>
              <a:avLst/>
              <a:gdLst>
                <a:gd name="T0" fmla="*/ 1 w 94"/>
                <a:gd name="T1" fmla="*/ 49 h 84"/>
                <a:gd name="T2" fmla="*/ 48 w 94"/>
                <a:gd name="T3" fmla="*/ 3 h 84"/>
                <a:gd name="T4" fmla="*/ 94 w 94"/>
                <a:gd name="T5" fmla="*/ 48 h 84"/>
                <a:gd name="T6" fmla="*/ 94 w 94"/>
                <a:gd name="T7" fmla="*/ 47 h 84"/>
                <a:gd name="T8" fmla="*/ 47 w 94"/>
                <a:gd name="T9" fmla="*/ 0 h 84"/>
                <a:gd name="T10" fmla="*/ 0 w 94"/>
                <a:gd name="T11" fmla="*/ 47 h 84"/>
                <a:gd name="T12" fmla="*/ 17 w 94"/>
                <a:gd name="T13" fmla="*/ 84 h 84"/>
                <a:gd name="T14" fmla="*/ 1 w 94"/>
                <a:gd name="T15" fmla="*/ 4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84">
                  <a:moveTo>
                    <a:pt x="1" y="49"/>
                  </a:moveTo>
                  <a:cubicBezTo>
                    <a:pt x="1" y="23"/>
                    <a:pt x="22" y="3"/>
                    <a:pt x="48" y="3"/>
                  </a:cubicBezTo>
                  <a:cubicBezTo>
                    <a:pt x="73" y="3"/>
                    <a:pt x="93" y="23"/>
                    <a:pt x="94" y="48"/>
                  </a:cubicBezTo>
                  <a:cubicBezTo>
                    <a:pt x="94" y="48"/>
                    <a:pt x="94" y="47"/>
                    <a:pt x="94" y="47"/>
                  </a:cubicBezTo>
                  <a:cubicBezTo>
                    <a:pt x="94" y="21"/>
                    <a:pt x="73" y="0"/>
                    <a:pt x="47" y="0"/>
                  </a:cubicBezTo>
                  <a:cubicBezTo>
                    <a:pt x="21" y="0"/>
                    <a:pt x="0" y="21"/>
                    <a:pt x="0" y="47"/>
                  </a:cubicBezTo>
                  <a:cubicBezTo>
                    <a:pt x="0" y="62"/>
                    <a:pt x="7" y="75"/>
                    <a:pt x="17" y="84"/>
                  </a:cubicBezTo>
                  <a:cubicBezTo>
                    <a:pt x="8" y="75"/>
                    <a:pt x="1" y="63"/>
                    <a:pt x="1" y="49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" name="Freeform 49">
              <a:extLst>
                <a:ext uri="{FF2B5EF4-FFF2-40B4-BE49-F238E27FC236}">
                  <a16:creationId xmlns:a16="http://schemas.microsoft.com/office/drawing/2014/main" id="{7A3C503B-CE82-4276-A1AE-412DE2807A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85790" y="-428426"/>
              <a:ext cx="438150" cy="384175"/>
            </a:xfrm>
            <a:custGeom>
              <a:avLst/>
              <a:gdLst>
                <a:gd name="T0" fmla="*/ 88 w 90"/>
                <a:gd name="T1" fmla="*/ 33 h 79"/>
                <a:gd name="T2" fmla="*/ 44 w 90"/>
                <a:gd name="T3" fmla="*/ 77 h 79"/>
                <a:gd name="T4" fmla="*/ 0 w 90"/>
                <a:gd name="T5" fmla="*/ 34 h 79"/>
                <a:gd name="T6" fmla="*/ 0 w 90"/>
                <a:gd name="T7" fmla="*/ 35 h 79"/>
                <a:gd name="T8" fmla="*/ 45 w 90"/>
                <a:gd name="T9" fmla="*/ 79 h 79"/>
                <a:gd name="T10" fmla="*/ 90 w 90"/>
                <a:gd name="T11" fmla="*/ 35 h 79"/>
                <a:gd name="T12" fmla="*/ 73 w 90"/>
                <a:gd name="T13" fmla="*/ 0 h 79"/>
                <a:gd name="T14" fmla="*/ 88 w 90"/>
                <a:gd name="T15" fmla="*/ 3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0" h="79">
                  <a:moveTo>
                    <a:pt x="88" y="33"/>
                  </a:moveTo>
                  <a:cubicBezTo>
                    <a:pt x="88" y="57"/>
                    <a:pt x="69" y="77"/>
                    <a:pt x="44" y="77"/>
                  </a:cubicBezTo>
                  <a:cubicBezTo>
                    <a:pt x="20" y="77"/>
                    <a:pt x="1" y="58"/>
                    <a:pt x="0" y="34"/>
                  </a:cubicBezTo>
                  <a:cubicBezTo>
                    <a:pt x="0" y="34"/>
                    <a:pt x="0" y="34"/>
                    <a:pt x="0" y="35"/>
                  </a:cubicBezTo>
                  <a:cubicBezTo>
                    <a:pt x="0" y="59"/>
                    <a:pt x="21" y="79"/>
                    <a:pt x="45" y="79"/>
                  </a:cubicBezTo>
                  <a:cubicBezTo>
                    <a:pt x="70" y="79"/>
                    <a:pt x="90" y="59"/>
                    <a:pt x="90" y="35"/>
                  </a:cubicBezTo>
                  <a:cubicBezTo>
                    <a:pt x="90" y="21"/>
                    <a:pt x="84" y="8"/>
                    <a:pt x="73" y="0"/>
                  </a:cubicBezTo>
                  <a:cubicBezTo>
                    <a:pt x="83" y="8"/>
                    <a:pt x="88" y="20"/>
                    <a:pt x="88" y="33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Oval 50">
              <a:extLst>
                <a:ext uri="{FF2B5EF4-FFF2-40B4-BE49-F238E27FC236}">
                  <a16:creationId xmlns:a16="http://schemas.microsoft.com/office/drawing/2014/main" id="{CBF74C97-4C42-4464-A7C9-41F7CFBDDD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85790" y="-491926"/>
              <a:ext cx="433388" cy="433388"/>
            </a:xfrm>
            <a:prstGeom prst="ellipse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51">
              <a:extLst>
                <a:ext uri="{FF2B5EF4-FFF2-40B4-BE49-F238E27FC236}">
                  <a16:creationId xmlns:a16="http://schemas.microsoft.com/office/drawing/2014/main" id="{165B6520-AC65-48E4-A429-59E5DA2CBD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7465" y="320874"/>
              <a:ext cx="4105275" cy="1751013"/>
            </a:xfrm>
            <a:custGeom>
              <a:avLst/>
              <a:gdLst>
                <a:gd name="T0" fmla="*/ 733 w 844"/>
                <a:gd name="T1" fmla="*/ 261 h 360"/>
                <a:gd name="T2" fmla="*/ 696 w 844"/>
                <a:gd name="T3" fmla="*/ 0 h 360"/>
                <a:gd name="T4" fmla="*/ 359 w 844"/>
                <a:gd name="T5" fmla="*/ 0 h 360"/>
                <a:gd name="T6" fmla="*/ 340 w 844"/>
                <a:gd name="T7" fmla="*/ 0 h 360"/>
                <a:gd name="T8" fmla="*/ 147 w 844"/>
                <a:gd name="T9" fmla="*/ 0 h 360"/>
                <a:gd name="T10" fmla="*/ 110 w 844"/>
                <a:gd name="T11" fmla="*/ 261 h 360"/>
                <a:gd name="T12" fmla="*/ 0 w 844"/>
                <a:gd name="T13" fmla="*/ 342 h 360"/>
                <a:gd name="T14" fmla="*/ 0 w 844"/>
                <a:gd name="T15" fmla="*/ 353 h 360"/>
                <a:gd name="T16" fmla="*/ 28 w 844"/>
                <a:gd name="T17" fmla="*/ 360 h 360"/>
                <a:gd name="T18" fmla="*/ 238 w 844"/>
                <a:gd name="T19" fmla="*/ 360 h 360"/>
                <a:gd name="T20" fmla="*/ 340 w 844"/>
                <a:gd name="T21" fmla="*/ 360 h 360"/>
                <a:gd name="T22" fmla="*/ 359 w 844"/>
                <a:gd name="T23" fmla="*/ 360 h 360"/>
                <a:gd name="T24" fmla="*/ 605 w 844"/>
                <a:gd name="T25" fmla="*/ 360 h 360"/>
                <a:gd name="T26" fmla="*/ 816 w 844"/>
                <a:gd name="T27" fmla="*/ 360 h 360"/>
                <a:gd name="T28" fmla="*/ 844 w 844"/>
                <a:gd name="T29" fmla="*/ 353 h 360"/>
                <a:gd name="T30" fmla="*/ 844 w 844"/>
                <a:gd name="T31" fmla="*/ 342 h 360"/>
                <a:gd name="T32" fmla="*/ 733 w 844"/>
                <a:gd name="T33" fmla="*/ 261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4" h="360">
                  <a:moveTo>
                    <a:pt x="733" y="261"/>
                  </a:moveTo>
                  <a:cubicBezTo>
                    <a:pt x="711" y="229"/>
                    <a:pt x="696" y="0"/>
                    <a:pt x="696" y="0"/>
                  </a:cubicBezTo>
                  <a:cubicBezTo>
                    <a:pt x="359" y="0"/>
                    <a:pt x="359" y="0"/>
                    <a:pt x="359" y="0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7" y="0"/>
                    <a:pt x="133" y="229"/>
                    <a:pt x="110" y="261"/>
                  </a:cubicBezTo>
                  <a:cubicBezTo>
                    <a:pt x="88" y="294"/>
                    <a:pt x="0" y="331"/>
                    <a:pt x="0" y="342"/>
                  </a:cubicBezTo>
                  <a:cubicBezTo>
                    <a:pt x="0" y="350"/>
                    <a:pt x="0" y="352"/>
                    <a:pt x="0" y="353"/>
                  </a:cubicBezTo>
                  <a:cubicBezTo>
                    <a:pt x="0" y="353"/>
                    <a:pt x="4" y="360"/>
                    <a:pt x="28" y="360"/>
                  </a:cubicBezTo>
                  <a:cubicBezTo>
                    <a:pt x="51" y="360"/>
                    <a:pt x="238" y="360"/>
                    <a:pt x="238" y="360"/>
                  </a:cubicBezTo>
                  <a:cubicBezTo>
                    <a:pt x="340" y="360"/>
                    <a:pt x="340" y="360"/>
                    <a:pt x="340" y="360"/>
                  </a:cubicBezTo>
                  <a:cubicBezTo>
                    <a:pt x="359" y="360"/>
                    <a:pt x="359" y="360"/>
                    <a:pt x="359" y="360"/>
                  </a:cubicBezTo>
                  <a:cubicBezTo>
                    <a:pt x="605" y="360"/>
                    <a:pt x="605" y="360"/>
                    <a:pt x="605" y="360"/>
                  </a:cubicBezTo>
                  <a:cubicBezTo>
                    <a:pt x="605" y="360"/>
                    <a:pt x="793" y="360"/>
                    <a:pt x="816" y="360"/>
                  </a:cubicBezTo>
                  <a:cubicBezTo>
                    <a:pt x="840" y="360"/>
                    <a:pt x="844" y="353"/>
                    <a:pt x="844" y="353"/>
                  </a:cubicBezTo>
                  <a:cubicBezTo>
                    <a:pt x="844" y="352"/>
                    <a:pt x="844" y="350"/>
                    <a:pt x="844" y="342"/>
                  </a:cubicBezTo>
                  <a:cubicBezTo>
                    <a:pt x="844" y="331"/>
                    <a:pt x="756" y="294"/>
                    <a:pt x="733" y="261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52">
              <a:extLst>
                <a:ext uri="{FF2B5EF4-FFF2-40B4-BE49-F238E27FC236}">
                  <a16:creationId xmlns:a16="http://schemas.microsoft.com/office/drawing/2014/main" id="{DD4D9254-DE7B-4598-A4EC-4B02E0F67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7465" y="320874"/>
              <a:ext cx="4105275" cy="1751013"/>
            </a:xfrm>
            <a:custGeom>
              <a:avLst/>
              <a:gdLst>
                <a:gd name="T0" fmla="*/ 733 w 844"/>
                <a:gd name="T1" fmla="*/ 261 h 360"/>
                <a:gd name="T2" fmla="*/ 696 w 844"/>
                <a:gd name="T3" fmla="*/ 0 h 360"/>
                <a:gd name="T4" fmla="*/ 359 w 844"/>
                <a:gd name="T5" fmla="*/ 0 h 360"/>
                <a:gd name="T6" fmla="*/ 340 w 844"/>
                <a:gd name="T7" fmla="*/ 0 h 360"/>
                <a:gd name="T8" fmla="*/ 147 w 844"/>
                <a:gd name="T9" fmla="*/ 0 h 360"/>
                <a:gd name="T10" fmla="*/ 110 w 844"/>
                <a:gd name="T11" fmla="*/ 261 h 360"/>
                <a:gd name="T12" fmla="*/ 0 w 844"/>
                <a:gd name="T13" fmla="*/ 342 h 360"/>
                <a:gd name="T14" fmla="*/ 0 w 844"/>
                <a:gd name="T15" fmla="*/ 353 h 360"/>
                <a:gd name="T16" fmla="*/ 28 w 844"/>
                <a:gd name="T17" fmla="*/ 360 h 360"/>
                <a:gd name="T18" fmla="*/ 238 w 844"/>
                <a:gd name="T19" fmla="*/ 360 h 360"/>
                <a:gd name="T20" fmla="*/ 340 w 844"/>
                <a:gd name="T21" fmla="*/ 360 h 360"/>
                <a:gd name="T22" fmla="*/ 359 w 844"/>
                <a:gd name="T23" fmla="*/ 360 h 360"/>
                <a:gd name="T24" fmla="*/ 605 w 844"/>
                <a:gd name="T25" fmla="*/ 360 h 360"/>
                <a:gd name="T26" fmla="*/ 816 w 844"/>
                <a:gd name="T27" fmla="*/ 360 h 360"/>
                <a:gd name="T28" fmla="*/ 844 w 844"/>
                <a:gd name="T29" fmla="*/ 353 h 360"/>
                <a:gd name="T30" fmla="*/ 844 w 844"/>
                <a:gd name="T31" fmla="*/ 342 h 360"/>
                <a:gd name="T32" fmla="*/ 733 w 844"/>
                <a:gd name="T33" fmla="*/ 261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4" h="360">
                  <a:moveTo>
                    <a:pt x="733" y="261"/>
                  </a:moveTo>
                  <a:cubicBezTo>
                    <a:pt x="711" y="229"/>
                    <a:pt x="696" y="0"/>
                    <a:pt x="696" y="0"/>
                  </a:cubicBezTo>
                  <a:cubicBezTo>
                    <a:pt x="359" y="0"/>
                    <a:pt x="359" y="0"/>
                    <a:pt x="359" y="0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7" y="0"/>
                    <a:pt x="133" y="229"/>
                    <a:pt x="110" y="261"/>
                  </a:cubicBezTo>
                  <a:cubicBezTo>
                    <a:pt x="88" y="294"/>
                    <a:pt x="0" y="331"/>
                    <a:pt x="0" y="342"/>
                  </a:cubicBezTo>
                  <a:cubicBezTo>
                    <a:pt x="0" y="350"/>
                    <a:pt x="0" y="352"/>
                    <a:pt x="0" y="353"/>
                  </a:cubicBezTo>
                  <a:cubicBezTo>
                    <a:pt x="0" y="353"/>
                    <a:pt x="4" y="360"/>
                    <a:pt x="28" y="360"/>
                  </a:cubicBezTo>
                  <a:cubicBezTo>
                    <a:pt x="51" y="360"/>
                    <a:pt x="238" y="360"/>
                    <a:pt x="238" y="360"/>
                  </a:cubicBezTo>
                  <a:cubicBezTo>
                    <a:pt x="340" y="360"/>
                    <a:pt x="340" y="360"/>
                    <a:pt x="340" y="360"/>
                  </a:cubicBezTo>
                  <a:cubicBezTo>
                    <a:pt x="359" y="360"/>
                    <a:pt x="359" y="360"/>
                    <a:pt x="359" y="360"/>
                  </a:cubicBezTo>
                  <a:cubicBezTo>
                    <a:pt x="605" y="360"/>
                    <a:pt x="605" y="360"/>
                    <a:pt x="605" y="360"/>
                  </a:cubicBezTo>
                  <a:cubicBezTo>
                    <a:pt x="605" y="360"/>
                    <a:pt x="793" y="360"/>
                    <a:pt x="816" y="360"/>
                  </a:cubicBezTo>
                  <a:cubicBezTo>
                    <a:pt x="840" y="360"/>
                    <a:pt x="844" y="353"/>
                    <a:pt x="844" y="353"/>
                  </a:cubicBezTo>
                  <a:cubicBezTo>
                    <a:pt x="844" y="352"/>
                    <a:pt x="844" y="350"/>
                    <a:pt x="844" y="342"/>
                  </a:cubicBezTo>
                  <a:cubicBezTo>
                    <a:pt x="844" y="331"/>
                    <a:pt x="756" y="294"/>
                    <a:pt x="733" y="261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53">
              <a:extLst>
                <a:ext uri="{FF2B5EF4-FFF2-40B4-BE49-F238E27FC236}">
                  <a16:creationId xmlns:a16="http://schemas.microsoft.com/office/drawing/2014/main" id="{E510DA72-F1DB-463C-9C19-3C0CB539E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7465" y="320874"/>
              <a:ext cx="4105275" cy="1751013"/>
            </a:xfrm>
            <a:custGeom>
              <a:avLst/>
              <a:gdLst>
                <a:gd name="T0" fmla="*/ 733 w 844"/>
                <a:gd name="T1" fmla="*/ 261 h 360"/>
                <a:gd name="T2" fmla="*/ 696 w 844"/>
                <a:gd name="T3" fmla="*/ 0 h 360"/>
                <a:gd name="T4" fmla="*/ 359 w 844"/>
                <a:gd name="T5" fmla="*/ 0 h 360"/>
                <a:gd name="T6" fmla="*/ 340 w 844"/>
                <a:gd name="T7" fmla="*/ 0 h 360"/>
                <a:gd name="T8" fmla="*/ 147 w 844"/>
                <a:gd name="T9" fmla="*/ 0 h 360"/>
                <a:gd name="T10" fmla="*/ 110 w 844"/>
                <a:gd name="T11" fmla="*/ 261 h 360"/>
                <a:gd name="T12" fmla="*/ 0 w 844"/>
                <a:gd name="T13" fmla="*/ 342 h 360"/>
                <a:gd name="T14" fmla="*/ 0 w 844"/>
                <a:gd name="T15" fmla="*/ 353 h 360"/>
                <a:gd name="T16" fmla="*/ 28 w 844"/>
                <a:gd name="T17" fmla="*/ 360 h 360"/>
                <a:gd name="T18" fmla="*/ 238 w 844"/>
                <a:gd name="T19" fmla="*/ 360 h 360"/>
                <a:gd name="T20" fmla="*/ 340 w 844"/>
                <a:gd name="T21" fmla="*/ 360 h 360"/>
                <a:gd name="T22" fmla="*/ 359 w 844"/>
                <a:gd name="T23" fmla="*/ 360 h 360"/>
                <a:gd name="T24" fmla="*/ 605 w 844"/>
                <a:gd name="T25" fmla="*/ 360 h 360"/>
                <a:gd name="T26" fmla="*/ 816 w 844"/>
                <a:gd name="T27" fmla="*/ 360 h 360"/>
                <a:gd name="T28" fmla="*/ 844 w 844"/>
                <a:gd name="T29" fmla="*/ 353 h 360"/>
                <a:gd name="T30" fmla="*/ 844 w 844"/>
                <a:gd name="T31" fmla="*/ 342 h 360"/>
                <a:gd name="T32" fmla="*/ 733 w 844"/>
                <a:gd name="T33" fmla="*/ 261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4" h="360">
                  <a:moveTo>
                    <a:pt x="733" y="261"/>
                  </a:moveTo>
                  <a:cubicBezTo>
                    <a:pt x="711" y="229"/>
                    <a:pt x="696" y="0"/>
                    <a:pt x="696" y="0"/>
                  </a:cubicBezTo>
                  <a:cubicBezTo>
                    <a:pt x="359" y="0"/>
                    <a:pt x="359" y="0"/>
                    <a:pt x="359" y="0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7" y="0"/>
                    <a:pt x="133" y="229"/>
                    <a:pt x="110" y="261"/>
                  </a:cubicBezTo>
                  <a:cubicBezTo>
                    <a:pt x="88" y="294"/>
                    <a:pt x="0" y="331"/>
                    <a:pt x="0" y="342"/>
                  </a:cubicBezTo>
                  <a:cubicBezTo>
                    <a:pt x="0" y="350"/>
                    <a:pt x="0" y="352"/>
                    <a:pt x="0" y="353"/>
                  </a:cubicBezTo>
                  <a:cubicBezTo>
                    <a:pt x="0" y="353"/>
                    <a:pt x="4" y="360"/>
                    <a:pt x="28" y="360"/>
                  </a:cubicBezTo>
                  <a:cubicBezTo>
                    <a:pt x="51" y="360"/>
                    <a:pt x="238" y="360"/>
                    <a:pt x="238" y="360"/>
                  </a:cubicBezTo>
                  <a:cubicBezTo>
                    <a:pt x="340" y="360"/>
                    <a:pt x="340" y="360"/>
                    <a:pt x="340" y="360"/>
                  </a:cubicBezTo>
                  <a:cubicBezTo>
                    <a:pt x="359" y="360"/>
                    <a:pt x="359" y="360"/>
                    <a:pt x="359" y="360"/>
                  </a:cubicBezTo>
                  <a:cubicBezTo>
                    <a:pt x="605" y="360"/>
                    <a:pt x="605" y="360"/>
                    <a:pt x="605" y="360"/>
                  </a:cubicBezTo>
                  <a:cubicBezTo>
                    <a:pt x="605" y="360"/>
                    <a:pt x="793" y="360"/>
                    <a:pt x="816" y="360"/>
                  </a:cubicBezTo>
                  <a:cubicBezTo>
                    <a:pt x="840" y="360"/>
                    <a:pt x="844" y="353"/>
                    <a:pt x="844" y="353"/>
                  </a:cubicBezTo>
                  <a:cubicBezTo>
                    <a:pt x="844" y="352"/>
                    <a:pt x="844" y="350"/>
                    <a:pt x="844" y="342"/>
                  </a:cubicBezTo>
                  <a:cubicBezTo>
                    <a:pt x="844" y="331"/>
                    <a:pt x="756" y="294"/>
                    <a:pt x="733" y="261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Freeform 54">
              <a:extLst>
                <a:ext uri="{FF2B5EF4-FFF2-40B4-BE49-F238E27FC236}">
                  <a16:creationId xmlns:a16="http://schemas.microsoft.com/office/drawing/2014/main" id="{22467819-EE7C-48F9-9DC1-1D86457B3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7465" y="320874"/>
              <a:ext cx="4105275" cy="1751013"/>
            </a:xfrm>
            <a:custGeom>
              <a:avLst/>
              <a:gdLst>
                <a:gd name="T0" fmla="*/ 733 w 844"/>
                <a:gd name="T1" fmla="*/ 261 h 360"/>
                <a:gd name="T2" fmla="*/ 696 w 844"/>
                <a:gd name="T3" fmla="*/ 0 h 360"/>
                <a:gd name="T4" fmla="*/ 359 w 844"/>
                <a:gd name="T5" fmla="*/ 0 h 360"/>
                <a:gd name="T6" fmla="*/ 340 w 844"/>
                <a:gd name="T7" fmla="*/ 0 h 360"/>
                <a:gd name="T8" fmla="*/ 147 w 844"/>
                <a:gd name="T9" fmla="*/ 0 h 360"/>
                <a:gd name="T10" fmla="*/ 110 w 844"/>
                <a:gd name="T11" fmla="*/ 261 h 360"/>
                <a:gd name="T12" fmla="*/ 0 w 844"/>
                <a:gd name="T13" fmla="*/ 342 h 360"/>
                <a:gd name="T14" fmla="*/ 0 w 844"/>
                <a:gd name="T15" fmla="*/ 353 h 360"/>
                <a:gd name="T16" fmla="*/ 28 w 844"/>
                <a:gd name="T17" fmla="*/ 360 h 360"/>
                <a:gd name="T18" fmla="*/ 238 w 844"/>
                <a:gd name="T19" fmla="*/ 360 h 360"/>
                <a:gd name="T20" fmla="*/ 340 w 844"/>
                <a:gd name="T21" fmla="*/ 360 h 360"/>
                <a:gd name="T22" fmla="*/ 359 w 844"/>
                <a:gd name="T23" fmla="*/ 360 h 360"/>
                <a:gd name="T24" fmla="*/ 605 w 844"/>
                <a:gd name="T25" fmla="*/ 360 h 360"/>
                <a:gd name="T26" fmla="*/ 816 w 844"/>
                <a:gd name="T27" fmla="*/ 360 h 360"/>
                <a:gd name="T28" fmla="*/ 844 w 844"/>
                <a:gd name="T29" fmla="*/ 353 h 360"/>
                <a:gd name="T30" fmla="*/ 844 w 844"/>
                <a:gd name="T31" fmla="*/ 342 h 360"/>
                <a:gd name="T32" fmla="*/ 733 w 844"/>
                <a:gd name="T33" fmla="*/ 261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4" h="360">
                  <a:moveTo>
                    <a:pt x="733" y="261"/>
                  </a:moveTo>
                  <a:cubicBezTo>
                    <a:pt x="711" y="229"/>
                    <a:pt x="696" y="0"/>
                    <a:pt x="696" y="0"/>
                  </a:cubicBezTo>
                  <a:cubicBezTo>
                    <a:pt x="359" y="0"/>
                    <a:pt x="359" y="0"/>
                    <a:pt x="359" y="0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7" y="0"/>
                    <a:pt x="133" y="229"/>
                    <a:pt x="110" y="261"/>
                  </a:cubicBezTo>
                  <a:cubicBezTo>
                    <a:pt x="88" y="294"/>
                    <a:pt x="0" y="331"/>
                    <a:pt x="0" y="342"/>
                  </a:cubicBezTo>
                  <a:cubicBezTo>
                    <a:pt x="0" y="350"/>
                    <a:pt x="0" y="352"/>
                    <a:pt x="0" y="353"/>
                  </a:cubicBezTo>
                  <a:cubicBezTo>
                    <a:pt x="0" y="353"/>
                    <a:pt x="4" y="360"/>
                    <a:pt x="28" y="360"/>
                  </a:cubicBezTo>
                  <a:cubicBezTo>
                    <a:pt x="51" y="360"/>
                    <a:pt x="238" y="360"/>
                    <a:pt x="238" y="360"/>
                  </a:cubicBezTo>
                  <a:cubicBezTo>
                    <a:pt x="340" y="360"/>
                    <a:pt x="340" y="360"/>
                    <a:pt x="340" y="360"/>
                  </a:cubicBezTo>
                  <a:cubicBezTo>
                    <a:pt x="359" y="360"/>
                    <a:pt x="359" y="360"/>
                    <a:pt x="359" y="360"/>
                  </a:cubicBezTo>
                  <a:cubicBezTo>
                    <a:pt x="605" y="360"/>
                    <a:pt x="605" y="360"/>
                    <a:pt x="605" y="360"/>
                  </a:cubicBezTo>
                  <a:cubicBezTo>
                    <a:pt x="605" y="360"/>
                    <a:pt x="793" y="360"/>
                    <a:pt x="816" y="360"/>
                  </a:cubicBezTo>
                  <a:cubicBezTo>
                    <a:pt x="840" y="360"/>
                    <a:pt x="844" y="353"/>
                    <a:pt x="844" y="353"/>
                  </a:cubicBezTo>
                  <a:cubicBezTo>
                    <a:pt x="844" y="352"/>
                    <a:pt x="844" y="350"/>
                    <a:pt x="844" y="342"/>
                  </a:cubicBezTo>
                  <a:cubicBezTo>
                    <a:pt x="844" y="331"/>
                    <a:pt x="756" y="294"/>
                    <a:pt x="733" y="261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Freeform 55">
              <a:extLst>
                <a:ext uri="{FF2B5EF4-FFF2-40B4-BE49-F238E27FC236}">
                  <a16:creationId xmlns:a16="http://schemas.microsoft.com/office/drawing/2014/main" id="{4B74A405-CE52-4216-A257-C3943FD79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7465" y="320874"/>
              <a:ext cx="4105275" cy="1751013"/>
            </a:xfrm>
            <a:custGeom>
              <a:avLst/>
              <a:gdLst>
                <a:gd name="T0" fmla="*/ 733 w 844"/>
                <a:gd name="T1" fmla="*/ 261 h 360"/>
                <a:gd name="T2" fmla="*/ 696 w 844"/>
                <a:gd name="T3" fmla="*/ 0 h 360"/>
                <a:gd name="T4" fmla="*/ 359 w 844"/>
                <a:gd name="T5" fmla="*/ 0 h 360"/>
                <a:gd name="T6" fmla="*/ 340 w 844"/>
                <a:gd name="T7" fmla="*/ 0 h 360"/>
                <a:gd name="T8" fmla="*/ 147 w 844"/>
                <a:gd name="T9" fmla="*/ 0 h 360"/>
                <a:gd name="T10" fmla="*/ 110 w 844"/>
                <a:gd name="T11" fmla="*/ 261 h 360"/>
                <a:gd name="T12" fmla="*/ 0 w 844"/>
                <a:gd name="T13" fmla="*/ 342 h 360"/>
                <a:gd name="T14" fmla="*/ 0 w 844"/>
                <a:gd name="T15" fmla="*/ 353 h 360"/>
                <a:gd name="T16" fmla="*/ 28 w 844"/>
                <a:gd name="T17" fmla="*/ 360 h 360"/>
                <a:gd name="T18" fmla="*/ 238 w 844"/>
                <a:gd name="T19" fmla="*/ 360 h 360"/>
                <a:gd name="T20" fmla="*/ 340 w 844"/>
                <a:gd name="T21" fmla="*/ 360 h 360"/>
                <a:gd name="T22" fmla="*/ 359 w 844"/>
                <a:gd name="T23" fmla="*/ 360 h 360"/>
                <a:gd name="T24" fmla="*/ 605 w 844"/>
                <a:gd name="T25" fmla="*/ 360 h 360"/>
                <a:gd name="T26" fmla="*/ 816 w 844"/>
                <a:gd name="T27" fmla="*/ 360 h 360"/>
                <a:gd name="T28" fmla="*/ 844 w 844"/>
                <a:gd name="T29" fmla="*/ 353 h 360"/>
                <a:gd name="T30" fmla="*/ 844 w 844"/>
                <a:gd name="T31" fmla="*/ 342 h 360"/>
                <a:gd name="T32" fmla="*/ 733 w 844"/>
                <a:gd name="T33" fmla="*/ 261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4" h="360">
                  <a:moveTo>
                    <a:pt x="733" y="261"/>
                  </a:moveTo>
                  <a:cubicBezTo>
                    <a:pt x="711" y="229"/>
                    <a:pt x="696" y="0"/>
                    <a:pt x="696" y="0"/>
                  </a:cubicBezTo>
                  <a:cubicBezTo>
                    <a:pt x="359" y="0"/>
                    <a:pt x="359" y="0"/>
                    <a:pt x="359" y="0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7" y="0"/>
                    <a:pt x="133" y="229"/>
                    <a:pt x="110" y="261"/>
                  </a:cubicBezTo>
                  <a:cubicBezTo>
                    <a:pt x="88" y="294"/>
                    <a:pt x="0" y="331"/>
                    <a:pt x="0" y="342"/>
                  </a:cubicBezTo>
                  <a:cubicBezTo>
                    <a:pt x="0" y="350"/>
                    <a:pt x="0" y="352"/>
                    <a:pt x="0" y="353"/>
                  </a:cubicBezTo>
                  <a:cubicBezTo>
                    <a:pt x="0" y="353"/>
                    <a:pt x="4" y="360"/>
                    <a:pt x="28" y="360"/>
                  </a:cubicBezTo>
                  <a:cubicBezTo>
                    <a:pt x="51" y="360"/>
                    <a:pt x="238" y="360"/>
                    <a:pt x="238" y="360"/>
                  </a:cubicBezTo>
                  <a:cubicBezTo>
                    <a:pt x="340" y="360"/>
                    <a:pt x="340" y="360"/>
                    <a:pt x="340" y="360"/>
                  </a:cubicBezTo>
                  <a:cubicBezTo>
                    <a:pt x="359" y="360"/>
                    <a:pt x="359" y="360"/>
                    <a:pt x="359" y="360"/>
                  </a:cubicBezTo>
                  <a:cubicBezTo>
                    <a:pt x="605" y="360"/>
                    <a:pt x="605" y="360"/>
                    <a:pt x="605" y="360"/>
                  </a:cubicBezTo>
                  <a:cubicBezTo>
                    <a:pt x="605" y="360"/>
                    <a:pt x="793" y="360"/>
                    <a:pt x="816" y="360"/>
                  </a:cubicBezTo>
                  <a:cubicBezTo>
                    <a:pt x="840" y="360"/>
                    <a:pt x="844" y="353"/>
                    <a:pt x="844" y="353"/>
                  </a:cubicBezTo>
                  <a:cubicBezTo>
                    <a:pt x="844" y="352"/>
                    <a:pt x="844" y="350"/>
                    <a:pt x="844" y="342"/>
                  </a:cubicBezTo>
                  <a:cubicBezTo>
                    <a:pt x="844" y="331"/>
                    <a:pt x="756" y="294"/>
                    <a:pt x="733" y="261"/>
                  </a:cubicBez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Freeform 56">
              <a:extLst>
                <a:ext uri="{FF2B5EF4-FFF2-40B4-BE49-F238E27FC236}">
                  <a16:creationId xmlns:a16="http://schemas.microsoft.com/office/drawing/2014/main" id="{FC998430-47C9-4B81-AB12-88C7CE47C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7465" y="320874"/>
              <a:ext cx="4105275" cy="1751013"/>
            </a:xfrm>
            <a:custGeom>
              <a:avLst/>
              <a:gdLst>
                <a:gd name="T0" fmla="*/ 733 w 844"/>
                <a:gd name="T1" fmla="*/ 261 h 360"/>
                <a:gd name="T2" fmla="*/ 696 w 844"/>
                <a:gd name="T3" fmla="*/ 0 h 360"/>
                <a:gd name="T4" fmla="*/ 359 w 844"/>
                <a:gd name="T5" fmla="*/ 0 h 360"/>
                <a:gd name="T6" fmla="*/ 340 w 844"/>
                <a:gd name="T7" fmla="*/ 0 h 360"/>
                <a:gd name="T8" fmla="*/ 147 w 844"/>
                <a:gd name="T9" fmla="*/ 0 h 360"/>
                <a:gd name="T10" fmla="*/ 110 w 844"/>
                <a:gd name="T11" fmla="*/ 261 h 360"/>
                <a:gd name="T12" fmla="*/ 0 w 844"/>
                <a:gd name="T13" fmla="*/ 342 h 360"/>
                <a:gd name="T14" fmla="*/ 0 w 844"/>
                <a:gd name="T15" fmla="*/ 353 h 360"/>
                <a:gd name="T16" fmla="*/ 28 w 844"/>
                <a:gd name="T17" fmla="*/ 360 h 360"/>
                <a:gd name="T18" fmla="*/ 238 w 844"/>
                <a:gd name="T19" fmla="*/ 360 h 360"/>
                <a:gd name="T20" fmla="*/ 340 w 844"/>
                <a:gd name="T21" fmla="*/ 360 h 360"/>
                <a:gd name="T22" fmla="*/ 359 w 844"/>
                <a:gd name="T23" fmla="*/ 360 h 360"/>
                <a:gd name="T24" fmla="*/ 605 w 844"/>
                <a:gd name="T25" fmla="*/ 360 h 360"/>
                <a:gd name="T26" fmla="*/ 816 w 844"/>
                <a:gd name="T27" fmla="*/ 360 h 360"/>
                <a:gd name="T28" fmla="*/ 844 w 844"/>
                <a:gd name="T29" fmla="*/ 353 h 360"/>
                <a:gd name="T30" fmla="*/ 844 w 844"/>
                <a:gd name="T31" fmla="*/ 342 h 360"/>
                <a:gd name="T32" fmla="*/ 733 w 844"/>
                <a:gd name="T33" fmla="*/ 261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4" h="360">
                  <a:moveTo>
                    <a:pt x="733" y="261"/>
                  </a:moveTo>
                  <a:cubicBezTo>
                    <a:pt x="711" y="229"/>
                    <a:pt x="696" y="0"/>
                    <a:pt x="696" y="0"/>
                  </a:cubicBezTo>
                  <a:cubicBezTo>
                    <a:pt x="359" y="0"/>
                    <a:pt x="359" y="0"/>
                    <a:pt x="359" y="0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7" y="0"/>
                    <a:pt x="133" y="229"/>
                    <a:pt x="110" y="261"/>
                  </a:cubicBezTo>
                  <a:cubicBezTo>
                    <a:pt x="88" y="294"/>
                    <a:pt x="0" y="331"/>
                    <a:pt x="0" y="342"/>
                  </a:cubicBezTo>
                  <a:cubicBezTo>
                    <a:pt x="0" y="350"/>
                    <a:pt x="0" y="352"/>
                    <a:pt x="0" y="353"/>
                  </a:cubicBezTo>
                  <a:cubicBezTo>
                    <a:pt x="0" y="353"/>
                    <a:pt x="4" y="360"/>
                    <a:pt x="28" y="360"/>
                  </a:cubicBezTo>
                  <a:cubicBezTo>
                    <a:pt x="51" y="360"/>
                    <a:pt x="238" y="360"/>
                    <a:pt x="238" y="360"/>
                  </a:cubicBezTo>
                  <a:cubicBezTo>
                    <a:pt x="340" y="360"/>
                    <a:pt x="340" y="360"/>
                    <a:pt x="340" y="360"/>
                  </a:cubicBezTo>
                  <a:cubicBezTo>
                    <a:pt x="359" y="360"/>
                    <a:pt x="359" y="360"/>
                    <a:pt x="359" y="360"/>
                  </a:cubicBezTo>
                  <a:cubicBezTo>
                    <a:pt x="605" y="360"/>
                    <a:pt x="605" y="360"/>
                    <a:pt x="605" y="360"/>
                  </a:cubicBezTo>
                  <a:cubicBezTo>
                    <a:pt x="605" y="360"/>
                    <a:pt x="793" y="360"/>
                    <a:pt x="816" y="360"/>
                  </a:cubicBezTo>
                  <a:cubicBezTo>
                    <a:pt x="840" y="360"/>
                    <a:pt x="844" y="353"/>
                    <a:pt x="844" y="353"/>
                  </a:cubicBezTo>
                  <a:cubicBezTo>
                    <a:pt x="844" y="352"/>
                    <a:pt x="844" y="350"/>
                    <a:pt x="844" y="342"/>
                  </a:cubicBezTo>
                  <a:cubicBezTo>
                    <a:pt x="844" y="331"/>
                    <a:pt x="756" y="294"/>
                    <a:pt x="733" y="261"/>
                  </a:cubicBezTo>
                  <a:close/>
                </a:path>
              </a:pathLst>
            </a:custGeom>
            <a:solidFill>
              <a:srgbClr val="E0D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Freeform 57">
              <a:extLst>
                <a:ext uri="{FF2B5EF4-FFF2-40B4-BE49-F238E27FC236}">
                  <a16:creationId xmlns:a16="http://schemas.microsoft.com/office/drawing/2014/main" id="{1C336D6E-5F75-4A87-9BB2-9FCBC7F61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7465" y="1978224"/>
              <a:ext cx="4105275" cy="93663"/>
            </a:xfrm>
            <a:custGeom>
              <a:avLst/>
              <a:gdLst>
                <a:gd name="T0" fmla="*/ 816 w 844"/>
                <a:gd name="T1" fmla="*/ 7 h 19"/>
                <a:gd name="T2" fmla="*/ 605 w 844"/>
                <a:gd name="T3" fmla="*/ 7 h 19"/>
                <a:gd name="T4" fmla="*/ 359 w 844"/>
                <a:gd name="T5" fmla="*/ 7 h 19"/>
                <a:gd name="T6" fmla="*/ 340 w 844"/>
                <a:gd name="T7" fmla="*/ 7 h 19"/>
                <a:gd name="T8" fmla="*/ 238 w 844"/>
                <a:gd name="T9" fmla="*/ 7 h 19"/>
                <a:gd name="T10" fmla="*/ 28 w 844"/>
                <a:gd name="T11" fmla="*/ 7 h 19"/>
                <a:gd name="T12" fmla="*/ 0 w 844"/>
                <a:gd name="T13" fmla="*/ 0 h 19"/>
                <a:gd name="T14" fmla="*/ 0 w 844"/>
                <a:gd name="T15" fmla="*/ 1 h 19"/>
                <a:gd name="T16" fmla="*/ 0 w 844"/>
                <a:gd name="T17" fmla="*/ 12 h 19"/>
                <a:gd name="T18" fmla="*/ 28 w 844"/>
                <a:gd name="T19" fmla="*/ 19 h 19"/>
                <a:gd name="T20" fmla="*/ 238 w 844"/>
                <a:gd name="T21" fmla="*/ 19 h 19"/>
                <a:gd name="T22" fmla="*/ 340 w 844"/>
                <a:gd name="T23" fmla="*/ 19 h 19"/>
                <a:gd name="T24" fmla="*/ 359 w 844"/>
                <a:gd name="T25" fmla="*/ 19 h 19"/>
                <a:gd name="T26" fmla="*/ 605 w 844"/>
                <a:gd name="T27" fmla="*/ 19 h 19"/>
                <a:gd name="T28" fmla="*/ 816 w 844"/>
                <a:gd name="T29" fmla="*/ 19 h 19"/>
                <a:gd name="T30" fmla="*/ 844 w 844"/>
                <a:gd name="T31" fmla="*/ 12 h 19"/>
                <a:gd name="T32" fmla="*/ 844 w 844"/>
                <a:gd name="T33" fmla="*/ 1 h 19"/>
                <a:gd name="T34" fmla="*/ 844 w 844"/>
                <a:gd name="T35" fmla="*/ 0 h 19"/>
                <a:gd name="T36" fmla="*/ 816 w 844"/>
                <a:gd name="T37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44" h="19">
                  <a:moveTo>
                    <a:pt x="816" y="7"/>
                  </a:moveTo>
                  <a:cubicBezTo>
                    <a:pt x="793" y="7"/>
                    <a:pt x="605" y="7"/>
                    <a:pt x="605" y="7"/>
                  </a:cubicBezTo>
                  <a:cubicBezTo>
                    <a:pt x="359" y="7"/>
                    <a:pt x="359" y="7"/>
                    <a:pt x="359" y="7"/>
                  </a:cubicBezTo>
                  <a:cubicBezTo>
                    <a:pt x="340" y="7"/>
                    <a:pt x="340" y="7"/>
                    <a:pt x="340" y="7"/>
                  </a:cubicBezTo>
                  <a:cubicBezTo>
                    <a:pt x="238" y="7"/>
                    <a:pt x="238" y="7"/>
                    <a:pt x="238" y="7"/>
                  </a:cubicBezTo>
                  <a:cubicBezTo>
                    <a:pt x="238" y="7"/>
                    <a:pt x="51" y="7"/>
                    <a:pt x="28" y="7"/>
                  </a:cubicBezTo>
                  <a:cubicBezTo>
                    <a:pt x="6" y="7"/>
                    <a:pt x="1" y="1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9"/>
                    <a:pt x="0" y="11"/>
                    <a:pt x="0" y="12"/>
                  </a:cubicBezTo>
                  <a:cubicBezTo>
                    <a:pt x="0" y="12"/>
                    <a:pt x="4" y="19"/>
                    <a:pt x="28" y="19"/>
                  </a:cubicBezTo>
                  <a:cubicBezTo>
                    <a:pt x="51" y="19"/>
                    <a:pt x="238" y="19"/>
                    <a:pt x="238" y="19"/>
                  </a:cubicBezTo>
                  <a:cubicBezTo>
                    <a:pt x="340" y="19"/>
                    <a:pt x="340" y="19"/>
                    <a:pt x="340" y="19"/>
                  </a:cubicBezTo>
                  <a:cubicBezTo>
                    <a:pt x="359" y="19"/>
                    <a:pt x="359" y="19"/>
                    <a:pt x="359" y="19"/>
                  </a:cubicBezTo>
                  <a:cubicBezTo>
                    <a:pt x="605" y="19"/>
                    <a:pt x="605" y="19"/>
                    <a:pt x="605" y="19"/>
                  </a:cubicBezTo>
                  <a:cubicBezTo>
                    <a:pt x="605" y="19"/>
                    <a:pt x="793" y="19"/>
                    <a:pt x="816" y="19"/>
                  </a:cubicBezTo>
                  <a:cubicBezTo>
                    <a:pt x="840" y="19"/>
                    <a:pt x="844" y="12"/>
                    <a:pt x="844" y="12"/>
                  </a:cubicBezTo>
                  <a:cubicBezTo>
                    <a:pt x="844" y="11"/>
                    <a:pt x="844" y="9"/>
                    <a:pt x="844" y="1"/>
                  </a:cubicBezTo>
                  <a:cubicBezTo>
                    <a:pt x="844" y="0"/>
                    <a:pt x="844" y="0"/>
                    <a:pt x="844" y="0"/>
                  </a:cubicBezTo>
                  <a:cubicBezTo>
                    <a:pt x="843" y="1"/>
                    <a:pt x="837" y="7"/>
                    <a:pt x="816" y="7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Freeform 58">
              <a:extLst>
                <a:ext uri="{FF2B5EF4-FFF2-40B4-BE49-F238E27FC236}">
                  <a16:creationId xmlns:a16="http://schemas.microsoft.com/office/drawing/2014/main" id="{EEBB2FF9-7024-4DAF-BDBB-1C488CB49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85615" y="320874"/>
              <a:ext cx="2957513" cy="1366838"/>
            </a:xfrm>
            <a:custGeom>
              <a:avLst/>
              <a:gdLst>
                <a:gd name="T0" fmla="*/ 249 w 608"/>
                <a:gd name="T1" fmla="*/ 281 h 281"/>
                <a:gd name="T2" fmla="*/ 608 w 608"/>
                <a:gd name="T3" fmla="*/ 19 h 281"/>
                <a:gd name="T4" fmla="*/ 606 w 608"/>
                <a:gd name="T5" fmla="*/ 0 h 281"/>
                <a:gd name="T6" fmla="*/ 269 w 608"/>
                <a:gd name="T7" fmla="*/ 0 h 281"/>
                <a:gd name="T8" fmla="*/ 250 w 608"/>
                <a:gd name="T9" fmla="*/ 0 h 281"/>
                <a:gd name="T10" fmla="*/ 57 w 608"/>
                <a:gd name="T11" fmla="*/ 0 h 281"/>
                <a:gd name="T12" fmla="*/ 20 w 608"/>
                <a:gd name="T13" fmla="*/ 261 h 281"/>
                <a:gd name="T14" fmla="*/ 0 w 608"/>
                <a:gd name="T15" fmla="*/ 281 h 281"/>
                <a:gd name="T16" fmla="*/ 249 w 608"/>
                <a:gd name="T17" fmla="*/ 28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8" h="281">
                  <a:moveTo>
                    <a:pt x="249" y="281"/>
                  </a:moveTo>
                  <a:cubicBezTo>
                    <a:pt x="608" y="19"/>
                    <a:pt x="608" y="19"/>
                    <a:pt x="608" y="19"/>
                  </a:cubicBezTo>
                  <a:cubicBezTo>
                    <a:pt x="607" y="7"/>
                    <a:pt x="606" y="0"/>
                    <a:pt x="606" y="0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0"/>
                    <a:pt x="43" y="229"/>
                    <a:pt x="20" y="261"/>
                  </a:cubicBezTo>
                  <a:cubicBezTo>
                    <a:pt x="16" y="268"/>
                    <a:pt x="9" y="275"/>
                    <a:pt x="0" y="281"/>
                  </a:cubicBezTo>
                  <a:lnTo>
                    <a:pt x="249" y="281"/>
                  </a:lnTo>
                  <a:close/>
                </a:path>
              </a:pathLst>
            </a:custGeom>
            <a:solidFill>
              <a:srgbClr val="CEC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Freeform 59">
              <a:extLst>
                <a:ext uri="{FF2B5EF4-FFF2-40B4-BE49-F238E27FC236}">
                  <a16:creationId xmlns:a16="http://schemas.microsoft.com/office/drawing/2014/main" id="{7E59AF29-8362-480B-91C0-B846F2825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58665" y="320874"/>
              <a:ext cx="2679700" cy="52388"/>
            </a:xfrm>
            <a:custGeom>
              <a:avLst/>
              <a:gdLst>
                <a:gd name="T0" fmla="*/ 1 w 551"/>
                <a:gd name="T1" fmla="*/ 0 h 11"/>
                <a:gd name="T2" fmla="*/ 0 w 551"/>
                <a:gd name="T3" fmla="*/ 11 h 11"/>
                <a:gd name="T4" fmla="*/ 551 w 551"/>
                <a:gd name="T5" fmla="*/ 11 h 11"/>
                <a:gd name="T6" fmla="*/ 550 w 551"/>
                <a:gd name="T7" fmla="*/ 0 h 11"/>
                <a:gd name="T8" fmla="*/ 213 w 551"/>
                <a:gd name="T9" fmla="*/ 0 h 11"/>
                <a:gd name="T10" fmla="*/ 194 w 551"/>
                <a:gd name="T11" fmla="*/ 0 h 11"/>
                <a:gd name="T12" fmla="*/ 1 w 551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1" h="11">
                  <a:moveTo>
                    <a:pt x="1" y="0"/>
                  </a:moveTo>
                  <a:cubicBezTo>
                    <a:pt x="1" y="0"/>
                    <a:pt x="1" y="4"/>
                    <a:pt x="0" y="11"/>
                  </a:cubicBezTo>
                  <a:cubicBezTo>
                    <a:pt x="551" y="11"/>
                    <a:pt x="551" y="11"/>
                    <a:pt x="551" y="11"/>
                  </a:cubicBezTo>
                  <a:cubicBezTo>
                    <a:pt x="551" y="4"/>
                    <a:pt x="550" y="0"/>
                    <a:pt x="550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194" y="0"/>
                    <a:pt x="194" y="0"/>
                    <a:pt x="194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C1C1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3" name="Рисунок 21">
            <a:extLst>
              <a:ext uri="{FF2B5EF4-FFF2-40B4-BE49-F238E27FC236}">
                <a16:creationId xmlns:a16="http://schemas.microsoft.com/office/drawing/2014/main" id="{318F4644-EBC0-41BA-AB91-A54534EFC29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22163" y="1737792"/>
            <a:ext cx="3144720" cy="1783847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bg1">
                <a:lumMod val="75000"/>
              </a:schemeClr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ru-RU" sz="3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39629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383309"/>
            <a:ext cx="8361170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D28637B-5A38-4501-9387-E0297FFC1CC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84308" y="3199088"/>
            <a:ext cx="1523612" cy="862119"/>
          </a:xfrm>
          <a:solidFill>
            <a:srgbClr val="F9F5F1"/>
          </a:solidFill>
        </p:spPr>
        <p:txBody>
          <a:bodyPr tIns="0" rIns="0" bIns="0" anchor="ctr" anchorCtr="0"/>
          <a:lstStyle>
            <a:lvl1pPr marL="0" indent="0" algn="ctr">
              <a:buNone/>
              <a:defRPr sz="1600" b="1"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591FD2A-EE93-4977-91DC-171EFCD1A24E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2085051" y="2797159"/>
            <a:ext cx="1523612" cy="1264049"/>
          </a:xfrm>
          <a:solidFill>
            <a:srgbClr val="F9F5F1"/>
          </a:solidFill>
        </p:spPr>
        <p:txBody>
          <a:bodyPr tIns="0" rIns="0" bIns="0" anchor="ctr" anchorCtr="0"/>
          <a:lstStyle>
            <a:lvl1pPr marL="0" indent="0" algn="ctr">
              <a:buNone/>
              <a:defRPr sz="1600" b="1"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A54AA7AE-E07D-4750-95BD-608129AF38E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3778057" y="2469767"/>
            <a:ext cx="1523612" cy="1591442"/>
          </a:xfrm>
          <a:solidFill>
            <a:srgbClr val="F9F5F1"/>
          </a:solidFill>
        </p:spPr>
        <p:txBody>
          <a:bodyPr tIns="0" rIns="0" bIns="0" anchor="ctr" anchorCtr="0"/>
          <a:lstStyle>
            <a:lvl1pPr marL="0" indent="0" algn="ctr">
              <a:buNone/>
              <a:defRPr sz="1600" b="1"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AC5EC4D0-4DBD-41EF-98DF-2E27E322263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5500112" y="2051222"/>
            <a:ext cx="1523612" cy="2009987"/>
          </a:xfrm>
          <a:solidFill>
            <a:srgbClr val="F9F5F1"/>
          </a:solidFill>
        </p:spPr>
        <p:txBody>
          <a:bodyPr tIns="0" rIns="0" bIns="0" anchor="ctr" anchorCtr="0"/>
          <a:lstStyle>
            <a:lvl1pPr marL="0" indent="0" algn="ctr">
              <a:buNone/>
              <a:defRPr sz="1600" b="1"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5E734C43-3F36-4A32-A658-287DFE957E0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7229940" y="1725487"/>
            <a:ext cx="1523612" cy="2331689"/>
          </a:xfrm>
          <a:solidFill>
            <a:srgbClr val="F9F5F1"/>
          </a:solidFill>
        </p:spPr>
        <p:txBody>
          <a:bodyPr tIns="0" rIns="0" bIns="0" anchor="ctr" anchorCtr="0"/>
          <a:lstStyle>
            <a:lvl1pPr marL="0" indent="0" algn="ctr">
              <a:buNone/>
              <a:defRPr sz="1600" b="1"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473543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2588" y="2052088"/>
            <a:ext cx="4920932" cy="1788391"/>
          </a:xfrm>
        </p:spPr>
        <p:txBody>
          <a:bodyPr>
            <a:noAutofit/>
          </a:bodyPr>
          <a:lstStyle>
            <a:lvl1pPr algn="l" defTabSz="3429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1" i="0" kern="1200" cap="all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88339" y="4874847"/>
            <a:ext cx="468000" cy="135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90BB0C-1568-4800-B1EF-F0EC8B1101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1366978"/>
            <a:ext cx="5095875" cy="296542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447675" indent="0">
              <a:buNone/>
              <a:defRPr/>
            </a:lvl4pPr>
            <a:lvl5pPr marL="627062" indent="0">
              <a:buNone/>
              <a:defRPr/>
            </a:lvl5pPr>
          </a:lstStyle>
          <a:p>
            <a:r>
              <a:rPr lang="en-US" dirty="0"/>
              <a:t>DIVIDER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B18E211-D3B4-41AC-820D-B39F56E3C27F}"/>
              </a:ext>
            </a:extLst>
          </p:cNvPr>
          <p:cNvCxnSpPr>
            <a:cxnSpLocks/>
          </p:cNvCxnSpPr>
          <p:nvPr userDrawn="1"/>
        </p:nvCxnSpPr>
        <p:spPr>
          <a:xfrm>
            <a:off x="382588" y="1790752"/>
            <a:ext cx="764041" cy="0"/>
          </a:xfrm>
          <a:prstGeom prst="line">
            <a:avLst/>
          </a:prstGeom>
          <a:ln w="25400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03427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88339" y="4874847"/>
            <a:ext cx="468000" cy="135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90527" y="1242147"/>
            <a:ext cx="8353233" cy="3383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832756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Title with subtitle and content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741760"/>
            <a:ext cx="8361362" cy="51204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383309"/>
            <a:ext cx="8361170" cy="3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288339" y="4877568"/>
            <a:ext cx="468000" cy="135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90527" y="1374774"/>
            <a:ext cx="8353233" cy="32508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165416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Two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8313" y="1235868"/>
            <a:ext cx="4097192" cy="33801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4633577" y="1235868"/>
            <a:ext cx="4096800" cy="33801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8619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Two Content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383309"/>
            <a:ext cx="8361170" cy="3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8313" y="1371600"/>
            <a:ext cx="4097192" cy="32539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4633577" y="1371600"/>
            <a:ext cx="4096800" cy="32539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741760"/>
            <a:ext cx="8361362" cy="513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83209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83C30B9-6910-43B5-84A5-8C49D325BD6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73088" y="515938"/>
            <a:ext cx="8183562" cy="2749550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82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US" dirty="0"/>
              <a:t>“BOLD QUOTE</a:t>
            </a:r>
            <a:br>
              <a:rPr lang="en-US" dirty="0"/>
            </a:br>
            <a:r>
              <a:rPr lang="en-US" dirty="0">
                <a:solidFill>
                  <a:schemeClr val="accent1"/>
                </a:solidFill>
              </a:rPr>
              <a:t>GOES HERE</a:t>
            </a:r>
            <a:r>
              <a:rPr lang="en-US" dirty="0"/>
              <a:t>.”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6BA9489-3DF1-4921-9415-83F5A6D6BF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089" y="3570288"/>
            <a:ext cx="8183562" cy="94297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447675" indent="0">
              <a:buNone/>
              <a:defRPr/>
            </a:lvl4pPr>
            <a:lvl5pPr marL="627062" indent="0">
              <a:buNone/>
              <a:defRPr/>
            </a:lvl5pPr>
          </a:lstStyle>
          <a:p>
            <a:r>
              <a:rPr lang="en-US" dirty="0"/>
              <a:t>Name, title</a:t>
            </a:r>
          </a:p>
        </p:txBody>
      </p:sp>
    </p:spTree>
    <p:extLst>
      <p:ext uri="{BB962C8B-B14F-4D97-AF65-F5344CB8AC3E}">
        <p14:creationId xmlns:p14="http://schemas.microsoft.com/office/powerpoint/2010/main" val="16990781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green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002862"/>
            <a:ext cx="6012000" cy="2527205"/>
          </a:xfrm>
        </p:spPr>
        <p:txBody>
          <a:bodyPr anchor="b" anchorCtr="0">
            <a:noAutofit/>
          </a:bodyPr>
          <a:lstStyle>
            <a:lvl1pPr marL="0" algn="l" defTabSz="457200" rtl="0" eaLnBrk="1" latinLnBrk="0" hangingPunct="1">
              <a:lnSpc>
                <a:spcPct val="81000"/>
              </a:lnSpc>
              <a:spcBef>
                <a:spcPct val="0"/>
              </a:spcBef>
              <a:buNone/>
              <a:defRPr lang="en-US" sz="5500" b="1" i="0" kern="1200" cap="all" baseline="0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title styl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901558"/>
            <a:ext cx="6012000" cy="71985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lang="fi-FI" sz="16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en-US" dirty="0"/>
              <a:t>Click to add Date and Presente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4D25AB9-8020-4C3E-83A3-21C1C12A3332}"/>
              </a:ext>
            </a:extLst>
          </p:cNvPr>
          <p:cNvCxnSpPr>
            <a:cxnSpLocks/>
          </p:cNvCxnSpPr>
          <p:nvPr userDrawn="1"/>
        </p:nvCxnSpPr>
        <p:spPr>
          <a:xfrm>
            <a:off x="382588" y="3704500"/>
            <a:ext cx="764041" cy="0"/>
          </a:xfrm>
          <a:prstGeom prst="line">
            <a:avLst/>
          </a:prstGeom>
          <a:ln w="25400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D15EA37A-A1F0-409C-B851-F3DCE2A609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308" y="291516"/>
            <a:ext cx="1037554" cy="461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7659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_E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C88EB4CA-4AA0-454B-9AC4-F89332AEE1D5}"/>
              </a:ext>
            </a:extLst>
          </p:cNvPr>
          <p:cNvSpPr txBox="1"/>
          <p:nvPr userDrawn="1"/>
        </p:nvSpPr>
        <p:spPr>
          <a:xfrm>
            <a:off x="139468" y="4782845"/>
            <a:ext cx="658887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i="0" dirty="0">
                <a:solidFill>
                  <a:schemeClr val="bg1"/>
                </a:solidFill>
              </a:rPr>
              <a:t>©2020 FIS and/or its subsidiaries. All Rights Reserved.</a:t>
            </a:r>
            <a:r>
              <a:rPr lang="en-US" sz="800" b="0" i="0" baseline="0" dirty="0">
                <a:solidFill>
                  <a:schemeClr val="bg1"/>
                </a:solidFill>
              </a:rPr>
              <a:t> </a:t>
            </a:r>
            <a:r>
              <a:rPr lang="en-US" sz="800" b="0" i="0" dirty="0">
                <a:solidFill>
                  <a:schemeClr val="bg1"/>
                </a:solidFill>
                <a:cs typeface="Arial"/>
              </a:rPr>
              <a:t>FIS confidential and proprietary information.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4BAA557-E5CE-49FE-AD47-FCC82C665B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8419" y="2143492"/>
            <a:ext cx="1927163" cy="856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7752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139075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34">
            <a:extLst>
              <a:ext uri="{FF2B5EF4-FFF2-40B4-BE49-F238E27FC236}">
                <a16:creationId xmlns:a16="http://schemas.microsoft.com/office/drawing/2014/main" id="{394B3B32-2383-40C3-8C2F-FAE6BEB7DF0E}"/>
              </a:ext>
            </a:extLst>
          </p:cNvPr>
          <p:cNvSpPr/>
          <p:nvPr userDrawn="1"/>
        </p:nvSpPr>
        <p:spPr>
          <a:xfrm flipV="1">
            <a:off x="0" y="0"/>
            <a:ext cx="9144000" cy="15318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81" tIns="17140" rIns="34281" bIns="17140" rtlCol="0" anchor="ctr"/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7" y="383308"/>
            <a:ext cx="3240743" cy="962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90528" y="1893651"/>
            <a:ext cx="3231705" cy="273192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7459856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702A19-14E2-D74D-8CF4-7A03E2EAC6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GOES HERE</a:t>
            </a:r>
            <a:br>
              <a:rPr lang="en-US"/>
            </a:br>
            <a:r>
              <a:rPr lang="en-US"/>
              <a:t>ARIAL BLACK SIZE 24 - ALL CAP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F3368F-82DD-FF4F-9F6D-9B57EA7111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259866" y="4911365"/>
            <a:ext cx="501547" cy="129741"/>
          </a:xfrm>
          <a:prstGeom prst="rect">
            <a:avLst/>
          </a:prstGeom>
        </p:spPr>
        <p:txBody>
          <a:bodyPr/>
          <a:lstStyle/>
          <a:p>
            <a:fld id="{AA132642-9791-1141-AFFD-62D0FEE9EA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42D51761-4766-E74E-A4D2-5AD0964027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589" y="1396212"/>
            <a:ext cx="4281487" cy="34766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50"/>
              </a:lnSpc>
              <a:buNone/>
              <a:tabLst/>
              <a:defRPr lang="en-US" sz="1400" b="1" kern="1200" dirty="0">
                <a:solidFill>
                  <a:schemeClr val="bg1"/>
                </a:solidFill>
                <a:latin typeface="+mn-lt"/>
                <a:ea typeface="Source Sans Pro" panose="020B0503030403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ts val="1800"/>
              </a:lnSpc>
            </a:pPr>
            <a:r>
              <a:rPr lang="en-US" sz="1400" b="1"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Subhead goes here lorem ipsum dolor sit </a:t>
            </a:r>
            <a:r>
              <a:rPr lang="en-US" sz="1400" b="1" err="1"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amet</a:t>
            </a:r>
            <a:endParaRPr lang="en-US" sz="1400" b="1">
              <a:latin typeface="Arial" panose="020B0604020202020204" pitchFamily="34" charset="0"/>
              <a:ea typeface="Source Sans Pro" panose="020B0503030403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0E3D4C7-8D84-9641-8D7B-F24C8C892CC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82589" y="1881091"/>
            <a:ext cx="6214607" cy="223073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85297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 Bas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6E19EDC-B61F-11B2-0E18-8AC97F556B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"/>
          <a:stretch/>
        </p:blipFill>
        <p:spPr>
          <a:xfrm rot="16200000">
            <a:off x="2001755" y="-1998746"/>
            <a:ext cx="5143500" cy="9140991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1B1309CA-40FA-DAC7-4109-B4DF0673F5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96344" y="4799231"/>
            <a:ext cx="553694" cy="241461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E95F816A-C242-0FFD-7927-F922CB16F6F8}"/>
              </a:ext>
            </a:extLst>
          </p:cNvPr>
          <p:cNvGrpSpPr/>
          <p:nvPr userDrawn="1"/>
        </p:nvGrpSpPr>
        <p:grpSpPr>
          <a:xfrm>
            <a:off x="4261149" y="4934228"/>
            <a:ext cx="661483" cy="89695"/>
            <a:chOff x="5780756" y="6414328"/>
            <a:chExt cx="330332" cy="44792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8029BD43-DD26-FAFE-6B60-05A806E561FA}"/>
                </a:ext>
              </a:extLst>
            </p:cNvPr>
            <p:cNvSpPr/>
            <p:nvPr/>
          </p:nvSpPr>
          <p:spPr>
            <a:xfrm>
              <a:off x="6066296" y="6414328"/>
              <a:ext cx="44792" cy="44792"/>
            </a:xfrm>
            <a:custGeom>
              <a:avLst/>
              <a:gdLst>
                <a:gd name="connsiteX0" fmla="*/ 44792 w 44792"/>
                <a:gd name="connsiteY0" fmla="*/ 22395 h 44792"/>
                <a:gd name="connsiteX1" fmla="*/ 22398 w 44792"/>
                <a:gd name="connsiteY1" fmla="*/ 0 h 44792"/>
                <a:gd name="connsiteX2" fmla="*/ 0 w 44792"/>
                <a:gd name="connsiteY2" fmla="*/ 22395 h 44792"/>
                <a:gd name="connsiteX3" fmla="*/ 22398 w 44792"/>
                <a:gd name="connsiteY3" fmla="*/ 44792 h 44792"/>
                <a:gd name="connsiteX4" fmla="*/ 44792 w 44792"/>
                <a:gd name="connsiteY4" fmla="*/ 22395 h 44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792" h="44792">
                  <a:moveTo>
                    <a:pt x="44792" y="22395"/>
                  </a:moveTo>
                  <a:cubicBezTo>
                    <a:pt x="44792" y="10033"/>
                    <a:pt x="34773" y="0"/>
                    <a:pt x="22398" y="0"/>
                  </a:cubicBezTo>
                  <a:cubicBezTo>
                    <a:pt x="10022" y="0"/>
                    <a:pt x="0" y="10033"/>
                    <a:pt x="0" y="22395"/>
                  </a:cubicBezTo>
                  <a:cubicBezTo>
                    <a:pt x="0" y="34773"/>
                    <a:pt x="10022" y="44792"/>
                    <a:pt x="22398" y="44792"/>
                  </a:cubicBezTo>
                  <a:cubicBezTo>
                    <a:pt x="34773" y="44792"/>
                    <a:pt x="44792" y="34773"/>
                    <a:pt x="44792" y="22395"/>
                  </a:cubicBezTo>
                </a:path>
              </a:pathLst>
            </a:custGeom>
            <a:solidFill>
              <a:srgbClr val="4BCD3E"/>
            </a:solidFill>
            <a:ln w="2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D3530E3-800C-17F0-20E3-E6B2E92EB77D}"/>
                </a:ext>
              </a:extLst>
            </p:cNvPr>
            <p:cNvSpPr/>
            <p:nvPr/>
          </p:nvSpPr>
          <p:spPr>
            <a:xfrm>
              <a:off x="5994918" y="6414328"/>
              <a:ext cx="44789" cy="44792"/>
            </a:xfrm>
            <a:custGeom>
              <a:avLst/>
              <a:gdLst>
                <a:gd name="connsiteX0" fmla="*/ 44790 w 44789"/>
                <a:gd name="connsiteY0" fmla="*/ 22395 h 44792"/>
                <a:gd name="connsiteX1" fmla="*/ 22395 w 44789"/>
                <a:gd name="connsiteY1" fmla="*/ 0 h 44792"/>
                <a:gd name="connsiteX2" fmla="*/ 0 w 44789"/>
                <a:gd name="connsiteY2" fmla="*/ 22395 h 44792"/>
                <a:gd name="connsiteX3" fmla="*/ 22395 w 44789"/>
                <a:gd name="connsiteY3" fmla="*/ 44792 h 44792"/>
                <a:gd name="connsiteX4" fmla="*/ 44790 w 44789"/>
                <a:gd name="connsiteY4" fmla="*/ 22395 h 44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789" h="44792">
                  <a:moveTo>
                    <a:pt x="44790" y="22395"/>
                  </a:moveTo>
                  <a:cubicBezTo>
                    <a:pt x="44790" y="10033"/>
                    <a:pt x="34770" y="0"/>
                    <a:pt x="22395" y="0"/>
                  </a:cubicBezTo>
                  <a:cubicBezTo>
                    <a:pt x="10019" y="0"/>
                    <a:pt x="0" y="10033"/>
                    <a:pt x="0" y="22395"/>
                  </a:cubicBezTo>
                  <a:cubicBezTo>
                    <a:pt x="0" y="34773"/>
                    <a:pt x="10019" y="44792"/>
                    <a:pt x="22395" y="44792"/>
                  </a:cubicBezTo>
                  <a:cubicBezTo>
                    <a:pt x="34768" y="44792"/>
                    <a:pt x="44790" y="34773"/>
                    <a:pt x="44790" y="22395"/>
                  </a:cubicBezTo>
                </a:path>
              </a:pathLst>
            </a:custGeom>
            <a:solidFill>
              <a:srgbClr val="4BCD3E">
                <a:alpha val="80000"/>
              </a:srgbClr>
            </a:solidFill>
            <a:ln w="2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8F54BD2-DA8A-F2CF-FEC7-D6C0B100BFC3}"/>
                </a:ext>
              </a:extLst>
            </p:cNvPr>
            <p:cNvSpPr/>
            <p:nvPr/>
          </p:nvSpPr>
          <p:spPr>
            <a:xfrm>
              <a:off x="5923520" y="6414328"/>
              <a:ext cx="44795" cy="44792"/>
            </a:xfrm>
            <a:custGeom>
              <a:avLst/>
              <a:gdLst>
                <a:gd name="connsiteX0" fmla="*/ 44795 w 44795"/>
                <a:gd name="connsiteY0" fmla="*/ 22395 h 44792"/>
                <a:gd name="connsiteX1" fmla="*/ 22398 w 44795"/>
                <a:gd name="connsiteY1" fmla="*/ 0 h 44792"/>
                <a:gd name="connsiteX2" fmla="*/ 0 w 44795"/>
                <a:gd name="connsiteY2" fmla="*/ 22395 h 44792"/>
                <a:gd name="connsiteX3" fmla="*/ 22398 w 44795"/>
                <a:gd name="connsiteY3" fmla="*/ 44792 h 44792"/>
                <a:gd name="connsiteX4" fmla="*/ 44795 w 44795"/>
                <a:gd name="connsiteY4" fmla="*/ 22395 h 44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795" h="44792">
                  <a:moveTo>
                    <a:pt x="44795" y="22395"/>
                  </a:moveTo>
                  <a:cubicBezTo>
                    <a:pt x="44795" y="10033"/>
                    <a:pt x="34762" y="0"/>
                    <a:pt x="22398" y="0"/>
                  </a:cubicBezTo>
                  <a:cubicBezTo>
                    <a:pt x="10019" y="0"/>
                    <a:pt x="0" y="10033"/>
                    <a:pt x="0" y="22395"/>
                  </a:cubicBezTo>
                  <a:cubicBezTo>
                    <a:pt x="0" y="34773"/>
                    <a:pt x="10019" y="44792"/>
                    <a:pt x="22398" y="44792"/>
                  </a:cubicBezTo>
                  <a:cubicBezTo>
                    <a:pt x="34762" y="44792"/>
                    <a:pt x="44795" y="34773"/>
                    <a:pt x="44795" y="22395"/>
                  </a:cubicBezTo>
                </a:path>
              </a:pathLst>
            </a:custGeom>
            <a:solidFill>
              <a:srgbClr val="4BCD3E">
                <a:alpha val="60000"/>
              </a:srgbClr>
            </a:solidFill>
            <a:ln w="2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0B382D9-E7F5-5563-FF32-284FED51B3C8}"/>
                </a:ext>
              </a:extLst>
            </p:cNvPr>
            <p:cNvSpPr/>
            <p:nvPr/>
          </p:nvSpPr>
          <p:spPr>
            <a:xfrm>
              <a:off x="5852137" y="6414328"/>
              <a:ext cx="44795" cy="44792"/>
            </a:xfrm>
            <a:custGeom>
              <a:avLst/>
              <a:gdLst>
                <a:gd name="connsiteX0" fmla="*/ 44795 w 44795"/>
                <a:gd name="connsiteY0" fmla="*/ 22395 h 44792"/>
                <a:gd name="connsiteX1" fmla="*/ 22398 w 44795"/>
                <a:gd name="connsiteY1" fmla="*/ 0 h 44792"/>
                <a:gd name="connsiteX2" fmla="*/ 0 w 44795"/>
                <a:gd name="connsiteY2" fmla="*/ 22395 h 44792"/>
                <a:gd name="connsiteX3" fmla="*/ 22398 w 44795"/>
                <a:gd name="connsiteY3" fmla="*/ 44792 h 44792"/>
                <a:gd name="connsiteX4" fmla="*/ 44795 w 44795"/>
                <a:gd name="connsiteY4" fmla="*/ 22395 h 44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795" h="44792">
                  <a:moveTo>
                    <a:pt x="44795" y="22395"/>
                  </a:moveTo>
                  <a:cubicBezTo>
                    <a:pt x="44795" y="10033"/>
                    <a:pt x="34776" y="0"/>
                    <a:pt x="22398" y="0"/>
                  </a:cubicBezTo>
                  <a:cubicBezTo>
                    <a:pt x="10033" y="0"/>
                    <a:pt x="0" y="10033"/>
                    <a:pt x="0" y="22395"/>
                  </a:cubicBezTo>
                  <a:cubicBezTo>
                    <a:pt x="0" y="34773"/>
                    <a:pt x="10030" y="44792"/>
                    <a:pt x="22398" y="44792"/>
                  </a:cubicBezTo>
                  <a:cubicBezTo>
                    <a:pt x="34773" y="44792"/>
                    <a:pt x="44795" y="34773"/>
                    <a:pt x="44795" y="22395"/>
                  </a:cubicBezTo>
                </a:path>
              </a:pathLst>
            </a:custGeom>
            <a:solidFill>
              <a:srgbClr val="4BCD3E">
                <a:alpha val="40000"/>
              </a:srgbClr>
            </a:solidFill>
            <a:ln w="2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5A7D58D-3484-9902-74CD-A2FED53DF11A}"/>
                </a:ext>
              </a:extLst>
            </p:cNvPr>
            <p:cNvSpPr/>
            <p:nvPr/>
          </p:nvSpPr>
          <p:spPr>
            <a:xfrm>
              <a:off x="5780756" y="6414328"/>
              <a:ext cx="44792" cy="44792"/>
            </a:xfrm>
            <a:custGeom>
              <a:avLst/>
              <a:gdLst>
                <a:gd name="connsiteX0" fmla="*/ 44792 w 44792"/>
                <a:gd name="connsiteY0" fmla="*/ 22395 h 44792"/>
                <a:gd name="connsiteX1" fmla="*/ 22409 w 44792"/>
                <a:gd name="connsiteY1" fmla="*/ 0 h 44792"/>
                <a:gd name="connsiteX2" fmla="*/ 0 w 44792"/>
                <a:gd name="connsiteY2" fmla="*/ 22395 h 44792"/>
                <a:gd name="connsiteX3" fmla="*/ 22409 w 44792"/>
                <a:gd name="connsiteY3" fmla="*/ 44792 h 44792"/>
                <a:gd name="connsiteX4" fmla="*/ 44792 w 44792"/>
                <a:gd name="connsiteY4" fmla="*/ 22395 h 44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792" h="44792">
                  <a:moveTo>
                    <a:pt x="44792" y="22395"/>
                  </a:moveTo>
                  <a:cubicBezTo>
                    <a:pt x="44792" y="10033"/>
                    <a:pt x="34773" y="0"/>
                    <a:pt x="22409" y="0"/>
                  </a:cubicBezTo>
                  <a:cubicBezTo>
                    <a:pt x="10030" y="0"/>
                    <a:pt x="0" y="10033"/>
                    <a:pt x="0" y="22395"/>
                  </a:cubicBezTo>
                  <a:cubicBezTo>
                    <a:pt x="0" y="34773"/>
                    <a:pt x="10030" y="44792"/>
                    <a:pt x="22409" y="44792"/>
                  </a:cubicBezTo>
                  <a:cubicBezTo>
                    <a:pt x="34773" y="44792"/>
                    <a:pt x="44792" y="34773"/>
                    <a:pt x="44792" y="22395"/>
                  </a:cubicBezTo>
                </a:path>
              </a:pathLst>
            </a:custGeom>
            <a:solidFill>
              <a:srgbClr val="4BCD3E">
                <a:alpha val="20000"/>
              </a:srgbClr>
            </a:solidFill>
            <a:ln w="2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</p:grp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CA08679D-944A-48EA-03E7-289BAE8EAB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4767263"/>
            <a:ext cx="3086100" cy="273844"/>
          </a:xfrm>
        </p:spPr>
        <p:txBody>
          <a:bodyPr/>
          <a:lstStyle/>
          <a:p>
            <a:r>
              <a:rPr lang="en-US"/>
              <a:t>| FIS Corporate Story 2024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321759BF-AE45-E7F8-8B11-665AC820A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85750" y="4767263"/>
            <a:ext cx="137160" cy="273844"/>
          </a:xfrm>
        </p:spPr>
        <p:txBody>
          <a:bodyPr/>
          <a:lstStyle/>
          <a:p>
            <a:pPr algn="r"/>
            <a:fld id="{9E30551D-6E63-4D32-98AF-2E81277E1E18}" type="slidenum">
              <a:rPr lang="en-US" smtClean="0"/>
              <a:pPr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78226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ondary Title Slide">
    <p:bg>
      <p:bgPr>
        <a:gradFill>
          <a:gsLst>
            <a:gs pos="35000">
              <a:srgbClr val="3247BB"/>
            </a:gs>
            <a:gs pos="89000">
              <a:schemeClr val="accent4"/>
            </a:gs>
          </a:gsLst>
          <a:path path="circle">
            <a:fillToRect r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74BD343-A395-6203-B794-C420375BC598}"/>
              </a:ext>
            </a:extLst>
          </p:cNvPr>
          <p:cNvSpPr/>
          <p:nvPr userDrawn="1"/>
        </p:nvSpPr>
        <p:spPr>
          <a:xfrm rot="10800000"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97248">
                <a:schemeClr val="accent4"/>
              </a:gs>
              <a:gs pos="77000">
                <a:schemeClr val="accent4"/>
              </a:gs>
              <a:gs pos="36000">
                <a:schemeClr val="accent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DE4B4EE-8EC2-01AC-DCB1-F3C755DA0055}"/>
              </a:ext>
            </a:extLst>
          </p:cNvPr>
          <p:cNvCxnSpPr>
            <a:cxnSpLocks/>
          </p:cNvCxnSpPr>
          <p:nvPr userDrawn="1"/>
        </p:nvCxnSpPr>
        <p:spPr>
          <a:xfrm>
            <a:off x="285750" y="1714500"/>
            <a:ext cx="0" cy="1508760"/>
          </a:xfrm>
          <a:prstGeom prst="line">
            <a:avLst/>
          </a:prstGeom>
          <a:ln w="381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DA5BF99-5C39-4447-881F-FE86CC8597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784" y="2001697"/>
            <a:ext cx="8446466" cy="1027253"/>
          </a:xfrm>
          <a:prstGeom prst="rect">
            <a:avLst/>
          </a:prstGeom>
        </p:spPr>
        <p:txBody>
          <a:bodyPr anchor="ctr">
            <a:noAutofit/>
          </a:bodyPr>
          <a:lstStyle>
            <a:lvl1pPr marL="11113" indent="0" algn="l">
              <a:lnSpc>
                <a:spcPct val="80000"/>
              </a:lnSpc>
              <a:spcBef>
                <a:spcPts val="0"/>
              </a:spcBef>
              <a:buNone/>
              <a:tabLst/>
              <a:defRPr sz="4500" b="1" i="0" cap="none" spc="-113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DIVIDER TITLE</a:t>
            </a:r>
            <a:br>
              <a:rPr lang="en-US"/>
            </a:br>
            <a:r>
              <a:rPr lang="en-US"/>
              <a:t>GOES HER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21E5EAF-6EEB-47EF-2E07-38C00CB423A7}"/>
              </a:ext>
            </a:extLst>
          </p:cNvPr>
          <p:cNvGrpSpPr/>
          <p:nvPr userDrawn="1"/>
        </p:nvGrpSpPr>
        <p:grpSpPr>
          <a:xfrm>
            <a:off x="4261149" y="4934228"/>
            <a:ext cx="661483" cy="89695"/>
            <a:chOff x="5780756" y="6414328"/>
            <a:chExt cx="330332" cy="44792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09DE0FF1-ABD7-C943-8FB2-AA80CD2509E3}"/>
                </a:ext>
              </a:extLst>
            </p:cNvPr>
            <p:cNvSpPr/>
            <p:nvPr/>
          </p:nvSpPr>
          <p:spPr>
            <a:xfrm>
              <a:off x="6066296" y="6414328"/>
              <a:ext cx="44792" cy="44792"/>
            </a:xfrm>
            <a:custGeom>
              <a:avLst/>
              <a:gdLst>
                <a:gd name="connsiteX0" fmla="*/ 44792 w 44792"/>
                <a:gd name="connsiteY0" fmla="*/ 22395 h 44792"/>
                <a:gd name="connsiteX1" fmla="*/ 22398 w 44792"/>
                <a:gd name="connsiteY1" fmla="*/ 0 h 44792"/>
                <a:gd name="connsiteX2" fmla="*/ 0 w 44792"/>
                <a:gd name="connsiteY2" fmla="*/ 22395 h 44792"/>
                <a:gd name="connsiteX3" fmla="*/ 22398 w 44792"/>
                <a:gd name="connsiteY3" fmla="*/ 44792 h 44792"/>
                <a:gd name="connsiteX4" fmla="*/ 44792 w 44792"/>
                <a:gd name="connsiteY4" fmla="*/ 22395 h 44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792" h="44792">
                  <a:moveTo>
                    <a:pt x="44792" y="22395"/>
                  </a:moveTo>
                  <a:cubicBezTo>
                    <a:pt x="44792" y="10033"/>
                    <a:pt x="34773" y="0"/>
                    <a:pt x="22398" y="0"/>
                  </a:cubicBezTo>
                  <a:cubicBezTo>
                    <a:pt x="10022" y="0"/>
                    <a:pt x="0" y="10033"/>
                    <a:pt x="0" y="22395"/>
                  </a:cubicBezTo>
                  <a:cubicBezTo>
                    <a:pt x="0" y="34773"/>
                    <a:pt x="10022" y="44792"/>
                    <a:pt x="22398" y="44792"/>
                  </a:cubicBezTo>
                  <a:cubicBezTo>
                    <a:pt x="34773" y="44792"/>
                    <a:pt x="44792" y="34773"/>
                    <a:pt x="44792" y="22395"/>
                  </a:cubicBezTo>
                </a:path>
              </a:pathLst>
            </a:custGeom>
            <a:solidFill>
              <a:srgbClr val="4BCD3E"/>
            </a:solidFill>
            <a:ln w="27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8721D5E-CB39-891E-6608-4D23B548007D}"/>
                </a:ext>
              </a:extLst>
            </p:cNvPr>
            <p:cNvSpPr/>
            <p:nvPr/>
          </p:nvSpPr>
          <p:spPr>
            <a:xfrm>
              <a:off x="5994918" y="6414328"/>
              <a:ext cx="44789" cy="44792"/>
            </a:xfrm>
            <a:custGeom>
              <a:avLst/>
              <a:gdLst>
                <a:gd name="connsiteX0" fmla="*/ 44790 w 44789"/>
                <a:gd name="connsiteY0" fmla="*/ 22395 h 44792"/>
                <a:gd name="connsiteX1" fmla="*/ 22395 w 44789"/>
                <a:gd name="connsiteY1" fmla="*/ 0 h 44792"/>
                <a:gd name="connsiteX2" fmla="*/ 0 w 44789"/>
                <a:gd name="connsiteY2" fmla="*/ 22395 h 44792"/>
                <a:gd name="connsiteX3" fmla="*/ 22395 w 44789"/>
                <a:gd name="connsiteY3" fmla="*/ 44792 h 44792"/>
                <a:gd name="connsiteX4" fmla="*/ 44790 w 44789"/>
                <a:gd name="connsiteY4" fmla="*/ 22395 h 44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789" h="44792">
                  <a:moveTo>
                    <a:pt x="44790" y="22395"/>
                  </a:moveTo>
                  <a:cubicBezTo>
                    <a:pt x="44790" y="10033"/>
                    <a:pt x="34770" y="0"/>
                    <a:pt x="22395" y="0"/>
                  </a:cubicBezTo>
                  <a:cubicBezTo>
                    <a:pt x="10019" y="0"/>
                    <a:pt x="0" y="10033"/>
                    <a:pt x="0" y="22395"/>
                  </a:cubicBezTo>
                  <a:cubicBezTo>
                    <a:pt x="0" y="34773"/>
                    <a:pt x="10019" y="44792"/>
                    <a:pt x="22395" y="44792"/>
                  </a:cubicBezTo>
                  <a:cubicBezTo>
                    <a:pt x="34768" y="44792"/>
                    <a:pt x="44790" y="34773"/>
                    <a:pt x="44790" y="22395"/>
                  </a:cubicBezTo>
                </a:path>
              </a:pathLst>
            </a:custGeom>
            <a:solidFill>
              <a:srgbClr val="4BCD3E">
                <a:alpha val="80000"/>
              </a:srgbClr>
            </a:solidFill>
            <a:ln w="27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C75B856-9D3E-08D1-43D2-1F87608616BF}"/>
                </a:ext>
              </a:extLst>
            </p:cNvPr>
            <p:cNvSpPr/>
            <p:nvPr/>
          </p:nvSpPr>
          <p:spPr>
            <a:xfrm>
              <a:off x="5923520" y="6414328"/>
              <a:ext cx="44795" cy="44792"/>
            </a:xfrm>
            <a:custGeom>
              <a:avLst/>
              <a:gdLst>
                <a:gd name="connsiteX0" fmla="*/ 44795 w 44795"/>
                <a:gd name="connsiteY0" fmla="*/ 22395 h 44792"/>
                <a:gd name="connsiteX1" fmla="*/ 22398 w 44795"/>
                <a:gd name="connsiteY1" fmla="*/ 0 h 44792"/>
                <a:gd name="connsiteX2" fmla="*/ 0 w 44795"/>
                <a:gd name="connsiteY2" fmla="*/ 22395 h 44792"/>
                <a:gd name="connsiteX3" fmla="*/ 22398 w 44795"/>
                <a:gd name="connsiteY3" fmla="*/ 44792 h 44792"/>
                <a:gd name="connsiteX4" fmla="*/ 44795 w 44795"/>
                <a:gd name="connsiteY4" fmla="*/ 22395 h 44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795" h="44792">
                  <a:moveTo>
                    <a:pt x="44795" y="22395"/>
                  </a:moveTo>
                  <a:cubicBezTo>
                    <a:pt x="44795" y="10033"/>
                    <a:pt x="34762" y="0"/>
                    <a:pt x="22398" y="0"/>
                  </a:cubicBezTo>
                  <a:cubicBezTo>
                    <a:pt x="10019" y="0"/>
                    <a:pt x="0" y="10033"/>
                    <a:pt x="0" y="22395"/>
                  </a:cubicBezTo>
                  <a:cubicBezTo>
                    <a:pt x="0" y="34773"/>
                    <a:pt x="10019" y="44792"/>
                    <a:pt x="22398" y="44792"/>
                  </a:cubicBezTo>
                  <a:cubicBezTo>
                    <a:pt x="34762" y="44792"/>
                    <a:pt x="44795" y="34773"/>
                    <a:pt x="44795" y="22395"/>
                  </a:cubicBezTo>
                </a:path>
              </a:pathLst>
            </a:custGeom>
            <a:solidFill>
              <a:srgbClr val="4BCD3E">
                <a:alpha val="60000"/>
              </a:srgbClr>
            </a:solidFill>
            <a:ln w="27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6029C3C-0363-97BB-AC39-5088FFDFDB36}"/>
                </a:ext>
              </a:extLst>
            </p:cNvPr>
            <p:cNvSpPr/>
            <p:nvPr/>
          </p:nvSpPr>
          <p:spPr>
            <a:xfrm>
              <a:off x="5852137" y="6414328"/>
              <a:ext cx="44795" cy="44792"/>
            </a:xfrm>
            <a:custGeom>
              <a:avLst/>
              <a:gdLst>
                <a:gd name="connsiteX0" fmla="*/ 44795 w 44795"/>
                <a:gd name="connsiteY0" fmla="*/ 22395 h 44792"/>
                <a:gd name="connsiteX1" fmla="*/ 22398 w 44795"/>
                <a:gd name="connsiteY1" fmla="*/ 0 h 44792"/>
                <a:gd name="connsiteX2" fmla="*/ 0 w 44795"/>
                <a:gd name="connsiteY2" fmla="*/ 22395 h 44792"/>
                <a:gd name="connsiteX3" fmla="*/ 22398 w 44795"/>
                <a:gd name="connsiteY3" fmla="*/ 44792 h 44792"/>
                <a:gd name="connsiteX4" fmla="*/ 44795 w 44795"/>
                <a:gd name="connsiteY4" fmla="*/ 22395 h 44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795" h="44792">
                  <a:moveTo>
                    <a:pt x="44795" y="22395"/>
                  </a:moveTo>
                  <a:cubicBezTo>
                    <a:pt x="44795" y="10033"/>
                    <a:pt x="34776" y="0"/>
                    <a:pt x="22398" y="0"/>
                  </a:cubicBezTo>
                  <a:cubicBezTo>
                    <a:pt x="10033" y="0"/>
                    <a:pt x="0" y="10033"/>
                    <a:pt x="0" y="22395"/>
                  </a:cubicBezTo>
                  <a:cubicBezTo>
                    <a:pt x="0" y="34773"/>
                    <a:pt x="10030" y="44792"/>
                    <a:pt x="22398" y="44792"/>
                  </a:cubicBezTo>
                  <a:cubicBezTo>
                    <a:pt x="34773" y="44792"/>
                    <a:pt x="44795" y="34773"/>
                    <a:pt x="44795" y="22395"/>
                  </a:cubicBezTo>
                </a:path>
              </a:pathLst>
            </a:custGeom>
            <a:solidFill>
              <a:srgbClr val="4BCD3E">
                <a:alpha val="40000"/>
              </a:srgbClr>
            </a:solidFill>
            <a:ln w="27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34EC018-ED14-9C71-4DEC-6163315BE834}"/>
                </a:ext>
              </a:extLst>
            </p:cNvPr>
            <p:cNvSpPr/>
            <p:nvPr/>
          </p:nvSpPr>
          <p:spPr>
            <a:xfrm>
              <a:off x="5780756" y="6414328"/>
              <a:ext cx="44792" cy="44792"/>
            </a:xfrm>
            <a:custGeom>
              <a:avLst/>
              <a:gdLst>
                <a:gd name="connsiteX0" fmla="*/ 44792 w 44792"/>
                <a:gd name="connsiteY0" fmla="*/ 22395 h 44792"/>
                <a:gd name="connsiteX1" fmla="*/ 22409 w 44792"/>
                <a:gd name="connsiteY1" fmla="*/ 0 h 44792"/>
                <a:gd name="connsiteX2" fmla="*/ 0 w 44792"/>
                <a:gd name="connsiteY2" fmla="*/ 22395 h 44792"/>
                <a:gd name="connsiteX3" fmla="*/ 22409 w 44792"/>
                <a:gd name="connsiteY3" fmla="*/ 44792 h 44792"/>
                <a:gd name="connsiteX4" fmla="*/ 44792 w 44792"/>
                <a:gd name="connsiteY4" fmla="*/ 22395 h 44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792" h="44792">
                  <a:moveTo>
                    <a:pt x="44792" y="22395"/>
                  </a:moveTo>
                  <a:cubicBezTo>
                    <a:pt x="44792" y="10033"/>
                    <a:pt x="34773" y="0"/>
                    <a:pt x="22409" y="0"/>
                  </a:cubicBezTo>
                  <a:cubicBezTo>
                    <a:pt x="10030" y="0"/>
                    <a:pt x="0" y="10033"/>
                    <a:pt x="0" y="22395"/>
                  </a:cubicBezTo>
                  <a:cubicBezTo>
                    <a:pt x="0" y="34773"/>
                    <a:pt x="10030" y="44792"/>
                    <a:pt x="22409" y="44792"/>
                  </a:cubicBezTo>
                  <a:cubicBezTo>
                    <a:pt x="34773" y="44792"/>
                    <a:pt x="44792" y="34773"/>
                    <a:pt x="44792" y="22395"/>
                  </a:cubicBezTo>
                </a:path>
              </a:pathLst>
            </a:custGeom>
            <a:solidFill>
              <a:srgbClr val="4BCD3E">
                <a:alpha val="20000"/>
              </a:srgbClr>
            </a:solidFill>
            <a:ln w="27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pic>
        <p:nvPicPr>
          <p:cNvPr id="2" name="Graphic 1">
            <a:extLst>
              <a:ext uri="{FF2B5EF4-FFF2-40B4-BE49-F238E27FC236}">
                <a16:creationId xmlns:a16="http://schemas.microsoft.com/office/drawing/2014/main" id="{7029F34C-C961-961D-3B4A-DE73A65242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1783" y="457201"/>
            <a:ext cx="943708" cy="411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987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80FFDA-9920-2429-B3A9-86B8E9D20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1371600"/>
            <a:ext cx="2949178" cy="1200150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546303-8356-2949-B331-9564F41656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C1010E-7142-B2EA-D61D-D23A6403B1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571750"/>
            <a:ext cx="2949178" cy="182403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679EBF-247A-0239-8338-1A07F8E74E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 FIS Investor Day 2024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DD3E61-8B3A-14EF-14D1-D1C589E7E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34019-754D-4801-9761-074636A47D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5888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A7082FC-6595-1320-B8E1-95190FEFD1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"/>
          <a:stretch/>
        </p:blipFill>
        <p:spPr>
          <a:xfrm rot="16200000">
            <a:off x="2001755" y="-1998746"/>
            <a:ext cx="5143500" cy="9140991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FE5D62-1F9C-9455-A695-C9A1A88478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E30551D-6E63-4D32-98AF-2E81277E1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35BCF1F-1F78-C61F-9E1E-2EE6D720F5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750" y="721029"/>
            <a:ext cx="8572500" cy="58208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ctr"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58388D4-5AB2-74CC-50B8-85577EA96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1238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atterened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2276E254-EC84-C12F-A732-B7811B2C26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"/>
          <a:stretch/>
        </p:blipFill>
        <p:spPr>
          <a:xfrm rot="16200000">
            <a:off x="2001755" y="-1998746"/>
            <a:ext cx="5143500" cy="9140991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99488A54-BFCC-EBA1-8A29-E56C2699E9B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96344" y="4799231"/>
            <a:ext cx="553694" cy="241461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E4C952BB-FE0E-B649-3B80-8AEB0C61B66B}"/>
              </a:ext>
            </a:extLst>
          </p:cNvPr>
          <p:cNvGrpSpPr/>
          <p:nvPr userDrawn="1"/>
        </p:nvGrpSpPr>
        <p:grpSpPr>
          <a:xfrm>
            <a:off x="4261149" y="4934228"/>
            <a:ext cx="661483" cy="89695"/>
            <a:chOff x="5780756" y="6414328"/>
            <a:chExt cx="330332" cy="44792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BD51D243-71B2-E103-C3EE-27AFE8702FEE}"/>
                </a:ext>
              </a:extLst>
            </p:cNvPr>
            <p:cNvSpPr/>
            <p:nvPr/>
          </p:nvSpPr>
          <p:spPr>
            <a:xfrm>
              <a:off x="6066296" y="6414328"/>
              <a:ext cx="44792" cy="44792"/>
            </a:xfrm>
            <a:custGeom>
              <a:avLst/>
              <a:gdLst>
                <a:gd name="connsiteX0" fmla="*/ 44792 w 44792"/>
                <a:gd name="connsiteY0" fmla="*/ 22395 h 44792"/>
                <a:gd name="connsiteX1" fmla="*/ 22398 w 44792"/>
                <a:gd name="connsiteY1" fmla="*/ 0 h 44792"/>
                <a:gd name="connsiteX2" fmla="*/ 0 w 44792"/>
                <a:gd name="connsiteY2" fmla="*/ 22395 h 44792"/>
                <a:gd name="connsiteX3" fmla="*/ 22398 w 44792"/>
                <a:gd name="connsiteY3" fmla="*/ 44792 h 44792"/>
                <a:gd name="connsiteX4" fmla="*/ 44792 w 44792"/>
                <a:gd name="connsiteY4" fmla="*/ 22395 h 44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792" h="44792">
                  <a:moveTo>
                    <a:pt x="44792" y="22395"/>
                  </a:moveTo>
                  <a:cubicBezTo>
                    <a:pt x="44792" y="10033"/>
                    <a:pt x="34773" y="0"/>
                    <a:pt x="22398" y="0"/>
                  </a:cubicBezTo>
                  <a:cubicBezTo>
                    <a:pt x="10022" y="0"/>
                    <a:pt x="0" y="10033"/>
                    <a:pt x="0" y="22395"/>
                  </a:cubicBezTo>
                  <a:cubicBezTo>
                    <a:pt x="0" y="34773"/>
                    <a:pt x="10022" y="44792"/>
                    <a:pt x="22398" y="44792"/>
                  </a:cubicBezTo>
                  <a:cubicBezTo>
                    <a:pt x="34773" y="44792"/>
                    <a:pt x="44792" y="34773"/>
                    <a:pt x="44792" y="22395"/>
                  </a:cubicBezTo>
                </a:path>
              </a:pathLst>
            </a:custGeom>
            <a:solidFill>
              <a:srgbClr val="4BCD3E"/>
            </a:solidFill>
            <a:ln w="2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5B8211F-70C2-BE81-189F-0EFF2BFAD6BB}"/>
                </a:ext>
              </a:extLst>
            </p:cNvPr>
            <p:cNvSpPr/>
            <p:nvPr/>
          </p:nvSpPr>
          <p:spPr>
            <a:xfrm>
              <a:off x="5994918" y="6414328"/>
              <a:ext cx="44789" cy="44792"/>
            </a:xfrm>
            <a:custGeom>
              <a:avLst/>
              <a:gdLst>
                <a:gd name="connsiteX0" fmla="*/ 44790 w 44789"/>
                <a:gd name="connsiteY0" fmla="*/ 22395 h 44792"/>
                <a:gd name="connsiteX1" fmla="*/ 22395 w 44789"/>
                <a:gd name="connsiteY1" fmla="*/ 0 h 44792"/>
                <a:gd name="connsiteX2" fmla="*/ 0 w 44789"/>
                <a:gd name="connsiteY2" fmla="*/ 22395 h 44792"/>
                <a:gd name="connsiteX3" fmla="*/ 22395 w 44789"/>
                <a:gd name="connsiteY3" fmla="*/ 44792 h 44792"/>
                <a:gd name="connsiteX4" fmla="*/ 44790 w 44789"/>
                <a:gd name="connsiteY4" fmla="*/ 22395 h 44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789" h="44792">
                  <a:moveTo>
                    <a:pt x="44790" y="22395"/>
                  </a:moveTo>
                  <a:cubicBezTo>
                    <a:pt x="44790" y="10033"/>
                    <a:pt x="34770" y="0"/>
                    <a:pt x="22395" y="0"/>
                  </a:cubicBezTo>
                  <a:cubicBezTo>
                    <a:pt x="10019" y="0"/>
                    <a:pt x="0" y="10033"/>
                    <a:pt x="0" y="22395"/>
                  </a:cubicBezTo>
                  <a:cubicBezTo>
                    <a:pt x="0" y="34773"/>
                    <a:pt x="10019" y="44792"/>
                    <a:pt x="22395" y="44792"/>
                  </a:cubicBezTo>
                  <a:cubicBezTo>
                    <a:pt x="34768" y="44792"/>
                    <a:pt x="44790" y="34773"/>
                    <a:pt x="44790" y="22395"/>
                  </a:cubicBezTo>
                </a:path>
              </a:pathLst>
            </a:custGeom>
            <a:solidFill>
              <a:srgbClr val="4BCD3E">
                <a:alpha val="80000"/>
              </a:srgbClr>
            </a:solidFill>
            <a:ln w="2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861BC71-45CD-CA99-F545-6CC160401DB7}"/>
                </a:ext>
              </a:extLst>
            </p:cNvPr>
            <p:cNvSpPr/>
            <p:nvPr/>
          </p:nvSpPr>
          <p:spPr>
            <a:xfrm>
              <a:off x="5923520" y="6414328"/>
              <a:ext cx="44795" cy="44792"/>
            </a:xfrm>
            <a:custGeom>
              <a:avLst/>
              <a:gdLst>
                <a:gd name="connsiteX0" fmla="*/ 44795 w 44795"/>
                <a:gd name="connsiteY0" fmla="*/ 22395 h 44792"/>
                <a:gd name="connsiteX1" fmla="*/ 22398 w 44795"/>
                <a:gd name="connsiteY1" fmla="*/ 0 h 44792"/>
                <a:gd name="connsiteX2" fmla="*/ 0 w 44795"/>
                <a:gd name="connsiteY2" fmla="*/ 22395 h 44792"/>
                <a:gd name="connsiteX3" fmla="*/ 22398 w 44795"/>
                <a:gd name="connsiteY3" fmla="*/ 44792 h 44792"/>
                <a:gd name="connsiteX4" fmla="*/ 44795 w 44795"/>
                <a:gd name="connsiteY4" fmla="*/ 22395 h 44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795" h="44792">
                  <a:moveTo>
                    <a:pt x="44795" y="22395"/>
                  </a:moveTo>
                  <a:cubicBezTo>
                    <a:pt x="44795" y="10033"/>
                    <a:pt x="34762" y="0"/>
                    <a:pt x="22398" y="0"/>
                  </a:cubicBezTo>
                  <a:cubicBezTo>
                    <a:pt x="10019" y="0"/>
                    <a:pt x="0" y="10033"/>
                    <a:pt x="0" y="22395"/>
                  </a:cubicBezTo>
                  <a:cubicBezTo>
                    <a:pt x="0" y="34773"/>
                    <a:pt x="10019" y="44792"/>
                    <a:pt x="22398" y="44792"/>
                  </a:cubicBezTo>
                  <a:cubicBezTo>
                    <a:pt x="34762" y="44792"/>
                    <a:pt x="44795" y="34773"/>
                    <a:pt x="44795" y="22395"/>
                  </a:cubicBezTo>
                </a:path>
              </a:pathLst>
            </a:custGeom>
            <a:solidFill>
              <a:srgbClr val="4BCD3E">
                <a:alpha val="60000"/>
              </a:srgbClr>
            </a:solidFill>
            <a:ln w="2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E379251D-17AB-98CF-A59C-BD9B2738A121}"/>
                </a:ext>
              </a:extLst>
            </p:cNvPr>
            <p:cNvSpPr/>
            <p:nvPr/>
          </p:nvSpPr>
          <p:spPr>
            <a:xfrm>
              <a:off x="5852137" y="6414328"/>
              <a:ext cx="44795" cy="44792"/>
            </a:xfrm>
            <a:custGeom>
              <a:avLst/>
              <a:gdLst>
                <a:gd name="connsiteX0" fmla="*/ 44795 w 44795"/>
                <a:gd name="connsiteY0" fmla="*/ 22395 h 44792"/>
                <a:gd name="connsiteX1" fmla="*/ 22398 w 44795"/>
                <a:gd name="connsiteY1" fmla="*/ 0 h 44792"/>
                <a:gd name="connsiteX2" fmla="*/ 0 w 44795"/>
                <a:gd name="connsiteY2" fmla="*/ 22395 h 44792"/>
                <a:gd name="connsiteX3" fmla="*/ 22398 w 44795"/>
                <a:gd name="connsiteY3" fmla="*/ 44792 h 44792"/>
                <a:gd name="connsiteX4" fmla="*/ 44795 w 44795"/>
                <a:gd name="connsiteY4" fmla="*/ 22395 h 44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795" h="44792">
                  <a:moveTo>
                    <a:pt x="44795" y="22395"/>
                  </a:moveTo>
                  <a:cubicBezTo>
                    <a:pt x="44795" y="10033"/>
                    <a:pt x="34776" y="0"/>
                    <a:pt x="22398" y="0"/>
                  </a:cubicBezTo>
                  <a:cubicBezTo>
                    <a:pt x="10033" y="0"/>
                    <a:pt x="0" y="10033"/>
                    <a:pt x="0" y="22395"/>
                  </a:cubicBezTo>
                  <a:cubicBezTo>
                    <a:pt x="0" y="34773"/>
                    <a:pt x="10030" y="44792"/>
                    <a:pt x="22398" y="44792"/>
                  </a:cubicBezTo>
                  <a:cubicBezTo>
                    <a:pt x="34773" y="44792"/>
                    <a:pt x="44795" y="34773"/>
                    <a:pt x="44795" y="22395"/>
                  </a:cubicBezTo>
                </a:path>
              </a:pathLst>
            </a:custGeom>
            <a:solidFill>
              <a:srgbClr val="4BCD3E">
                <a:alpha val="40000"/>
              </a:srgbClr>
            </a:solidFill>
            <a:ln w="2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7154CE3-F91B-ECB9-9D00-7857F46E6D15}"/>
                </a:ext>
              </a:extLst>
            </p:cNvPr>
            <p:cNvSpPr/>
            <p:nvPr/>
          </p:nvSpPr>
          <p:spPr>
            <a:xfrm>
              <a:off x="5780756" y="6414328"/>
              <a:ext cx="44792" cy="44792"/>
            </a:xfrm>
            <a:custGeom>
              <a:avLst/>
              <a:gdLst>
                <a:gd name="connsiteX0" fmla="*/ 44792 w 44792"/>
                <a:gd name="connsiteY0" fmla="*/ 22395 h 44792"/>
                <a:gd name="connsiteX1" fmla="*/ 22409 w 44792"/>
                <a:gd name="connsiteY1" fmla="*/ 0 h 44792"/>
                <a:gd name="connsiteX2" fmla="*/ 0 w 44792"/>
                <a:gd name="connsiteY2" fmla="*/ 22395 h 44792"/>
                <a:gd name="connsiteX3" fmla="*/ 22409 w 44792"/>
                <a:gd name="connsiteY3" fmla="*/ 44792 h 44792"/>
                <a:gd name="connsiteX4" fmla="*/ 44792 w 44792"/>
                <a:gd name="connsiteY4" fmla="*/ 22395 h 44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792" h="44792">
                  <a:moveTo>
                    <a:pt x="44792" y="22395"/>
                  </a:moveTo>
                  <a:cubicBezTo>
                    <a:pt x="44792" y="10033"/>
                    <a:pt x="34773" y="0"/>
                    <a:pt x="22409" y="0"/>
                  </a:cubicBezTo>
                  <a:cubicBezTo>
                    <a:pt x="10030" y="0"/>
                    <a:pt x="0" y="10033"/>
                    <a:pt x="0" y="22395"/>
                  </a:cubicBezTo>
                  <a:cubicBezTo>
                    <a:pt x="0" y="34773"/>
                    <a:pt x="10030" y="44792"/>
                    <a:pt x="22409" y="44792"/>
                  </a:cubicBezTo>
                  <a:cubicBezTo>
                    <a:pt x="34773" y="44792"/>
                    <a:pt x="44792" y="34773"/>
                    <a:pt x="44792" y="22395"/>
                  </a:cubicBezTo>
                </a:path>
              </a:pathLst>
            </a:custGeom>
            <a:solidFill>
              <a:srgbClr val="4BCD3E">
                <a:alpha val="20000"/>
              </a:srgbClr>
            </a:solidFill>
            <a:ln w="2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</p:grp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D6E0A0-DD5A-B003-66AC-EC4AF7ADBC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 FIS Investor Day 2024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DEE58B-1F88-DE84-7790-04FEEAB873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9E30551D-6E63-4D32-98AF-2E81277E1E18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2BCE3B8-A761-188F-1965-AE306A058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559492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702A19-14E2-D74D-8CF4-7A03E2EAC6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GOES HERE</a:t>
            </a:r>
            <a:br>
              <a:rPr lang="en-US"/>
            </a:br>
            <a:r>
              <a:rPr lang="en-US"/>
              <a:t>ARIAL BLACK SIZE 24 - ALL CAP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0E3D4C7-8D84-9641-8D7B-F24C8C892CC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82588" y="1396211"/>
            <a:ext cx="6214607" cy="223073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F3368F-82DD-FF4F-9F6D-9B57EA7111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259865" y="4911365"/>
            <a:ext cx="501547" cy="129741"/>
          </a:xfrm>
          <a:prstGeom prst="rect">
            <a:avLst/>
          </a:prstGeom>
        </p:spPr>
        <p:txBody>
          <a:bodyPr/>
          <a:lstStyle/>
          <a:p>
            <a:fld id="{AA132642-9791-1141-AFFD-62D0FEE9EA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8903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green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002862"/>
            <a:ext cx="6012000" cy="2527205"/>
          </a:xfrm>
        </p:spPr>
        <p:txBody>
          <a:bodyPr anchor="b" anchorCtr="0">
            <a:noAutofit/>
          </a:bodyPr>
          <a:lstStyle>
            <a:lvl1pPr marL="0" algn="l" defTabSz="457200" rtl="0" eaLnBrk="1" latinLnBrk="0" hangingPunct="1">
              <a:lnSpc>
                <a:spcPct val="81000"/>
              </a:lnSpc>
              <a:spcBef>
                <a:spcPct val="0"/>
              </a:spcBef>
              <a:buNone/>
              <a:defRPr lang="en-US" sz="5500" b="1" i="0" kern="1200" cap="all" baseline="0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title styl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901558"/>
            <a:ext cx="6012000" cy="71985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lang="fi-FI" sz="16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en-US" dirty="0"/>
              <a:t>Click to add Date and Presente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4D25AB9-8020-4C3E-83A3-21C1C12A3332}"/>
              </a:ext>
            </a:extLst>
          </p:cNvPr>
          <p:cNvCxnSpPr>
            <a:cxnSpLocks/>
          </p:cNvCxnSpPr>
          <p:nvPr userDrawn="1"/>
        </p:nvCxnSpPr>
        <p:spPr>
          <a:xfrm>
            <a:off x="382588" y="3704500"/>
            <a:ext cx="764041" cy="0"/>
          </a:xfrm>
          <a:prstGeom prst="line">
            <a:avLst/>
          </a:prstGeom>
          <a:ln w="25400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D15EA37A-A1F0-409C-B851-F3DCE2A609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308" y="291516"/>
            <a:ext cx="1037554" cy="461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6338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F3368F-82DD-FF4F-9F6D-9B57EA7111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259865" y="4911365"/>
            <a:ext cx="501547" cy="12974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A132642-9791-1141-AFFD-62D0FEE9EAA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861B80D-EAFD-4F44-93FB-B4EA406F535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82588" y="515938"/>
            <a:ext cx="8183562" cy="2749550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lnSpc>
                <a:spcPct val="82000"/>
              </a:lnSpc>
              <a:spcBef>
                <a:spcPts val="0"/>
              </a:spcBef>
              <a:buNone/>
              <a:defRPr sz="4000" cap="all" baseline="0">
                <a:solidFill>
                  <a:schemeClr val="tx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US"/>
              <a:t>“BOLD QUOTE</a:t>
            </a:r>
            <a:br>
              <a:rPr lang="en-US"/>
            </a:br>
            <a:r>
              <a:rPr lang="en-US"/>
              <a:t>GOES HERE.”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0DE82A8E-E250-1943-B64C-E258798669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589" y="3570288"/>
            <a:ext cx="8183562" cy="9429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447675" indent="0">
              <a:buNone/>
              <a:defRPr/>
            </a:lvl4pPr>
            <a:lvl5pPr marL="627062" indent="0">
              <a:buNone/>
              <a:defRPr/>
            </a:lvl5pPr>
          </a:lstStyle>
          <a:p>
            <a:r>
              <a:rPr lang="en-US"/>
              <a:t>Name,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70EE7FA-7FBD-7B46-B6D0-75A067C20F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286" r="-1652" b="-6711"/>
          <a:stretch/>
        </p:blipFill>
        <p:spPr>
          <a:xfrm>
            <a:off x="382588" y="4769277"/>
            <a:ext cx="509830" cy="226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47781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6_Custom Layou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C41EB2D-06F4-7B42-AA3C-324389DE3A2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259865" y="4911365"/>
            <a:ext cx="501547" cy="1297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A132642-9791-1141-AFFD-62D0FEE9EAA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1F66876-8A98-4D40-8724-A640E30FF2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9623" y="1822579"/>
            <a:ext cx="6291805" cy="1573763"/>
          </a:xfrm>
          <a:prstGeom prst="rect">
            <a:avLst/>
          </a:prstGeom>
        </p:spPr>
        <p:txBody>
          <a:bodyPr/>
          <a:lstStyle>
            <a:lvl1pPr marL="11113" indent="0">
              <a:lnSpc>
                <a:spcPts val="5000"/>
              </a:lnSpc>
              <a:spcBef>
                <a:spcPts val="0"/>
              </a:spcBef>
              <a:buNone/>
              <a:tabLst/>
              <a:defRPr sz="54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DIVIDER TITLE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3AB859-AC1E-8F4E-85A5-78D0968F1A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-1286" r="-1652" b="-6711"/>
          <a:stretch/>
        </p:blipFill>
        <p:spPr>
          <a:xfrm>
            <a:off x="382588" y="4776418"/>
            <a:ext cx="509830" cy="226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0338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Char"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28957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383309"/>
            <a:ext cx="8361170" cy="78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35215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4">
            <a:extLst>
              <a:ext uri="{FF2B5EF4-FFF2-40B4-BE49-F238E27FC236}">
                <a16:creationId xmlns:a16="http://schemas.microsoft.com/office/drawing/2014/main" id="{86E62A92-4FD1-4D77-82F6-84F8E0AF78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0"/>
            <a:ext cx="4572000" cy="514349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2588" y="2052088"/>
            <a:ext cx="4920932" cy="1788391"/>
          </a:xfrm>
        </p:spPr>
        <p:txBody>
          <a:bodyPr>
            <a:noAutofit/>
          </a:bodyPr>
          <a:lstStyle>
            <a:lvl1pPr algn="l" defTabSz="3429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1" i="0" kern="1200" cap="all" dirty="0">
                <a:solidFill>
                  <a:schemeClr val="tx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88339" y="4874847"/>
            <a:ext cx="468000" cy="135000"/>
          </a:xfrm>
        </p:spPr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90BB0C-1568-4800-B1EF-F0EC8B1101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1366978"/>
            <a:ext cx="5095875" cy="296542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447675" indent="0">
              <a:buNone/>
              <a:defRPr/>
            </a:lvl4pPr>
            <a:lvl5pPr marL="627062" indent="0">
              <a:buNone/>
              <a:defRPr/>
            </a:lvl5pPr>
          </a:lstStyle>
          <a:p>
            <a:r>
              <a:rPr lang="en-US" dirty="0"/>
              <a:t>DIVIDER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B18E211-D3B4-41AC-820D-B39F56E3C27F}"/>
              </a:ext>
            </a:extLst>
          </p:cNvPr>
          <p:cNvCxnSpPr>
            <a:cxnSpLocks/>
          </p:cNvCxnSpPr>
          <p:nvPr userDrawn="1"/>
        </p:nvCxnSpPr>
        <p:spPr>
          <a:xfrm>
            <a:off x="382588" y="1790752"/>
            <a:ext cx="764041" cy="0"/>
          </a:xfrm>
          <a:prstGeom prst="line">
            <a:avLst/>
          </a:prstGeom>
          <a:ln w="25400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55517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4C1B30-C7EB-6141-9579-275A5EC89B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8A9C38-5598-A749-A021-0D6822536F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356202B-2E9D-734C-AB23-24EB417B9D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587" y="914556"/>
            <a:ext cx="8361170" cy="341816"/>
          </a:xfrm>
        </p:spPr>
        <p:txBody>
          <a:bodyPr/>
          <a:lstStyle>
            <a:lvl1pPr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vent name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654F68C-C39A-FE4C-A767-A6D9F229DF5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82588" y="1723635"/>
            <a:ext cx="1788182" cy="2774023"/>
          </a:xfrm>
        </p:spPr>
        <p:txBody>
          <a:bodyPr/>
          <a:lstStyle>
            <a:lvl1pPr>
              <a:buNone/>
              <a:defRPr b="0">
                <a:solidFill>
                  <a:schemeClr val="tx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4FC6D649-5618-C940-8A2F-212B1B8C2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367504" y="1723635"/>
            <a:ext cx="2754621" cy="2774023"/>
          </a:xfrm>
        </p:spPr>
        <p:txBody>
          <a:bodyPr/>
          <a:lstStyle>
            <a:lvl1pPr>
              <a:buNone/>
              <a:defRPr b="0">
                <a:solidFill>
                  <a:schemeClr val="tx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A3BBE2D-F872-BF47-95CD-CF7B74023E20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18859" y="1723635"/>
            <a:ext cx="2464690" cy="2774023"/>
          </a:xfrm>
        </p:spPr>
        <p:txBody>
          <a:bodyPr/>
          <a:lstStyle>
            <a:lvl1pPr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78E90130-72BF-A244-A6CB-13A1B9E20E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1360488"/>
            <a:ext cx="1780746" cy="282575"/>
          </a:xfrm>
        </p:spPr>
        <p:txBody>
          <a:bodyPr/>
          <a:lstStyle>
            <a:lvl1pPr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Tim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FEA2FB82-7A39-234A-92E3-9D97CD6A81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60070" y="1360488"/>
            <a:ext cx="2754620" cy="282575"/>
          </a:xfrm>
        </p:spPr>
        <p:txBody>
          <a:bodyPr/>
          <a:lstStyle>
            <a:lvl1pPr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Topic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8B6E39AF-57C4-DD46-90F4-4AD29D170C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11426" y="1360488"/>
            <a:ext cx="2754620" cy="282575"/>
          </a:xfrm>
        </p:spPr>
        <p:txBody>
          <a:bodyPr/>
          <a:lstStyle>
            <a:lvl1pPr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resenter</a:t>
            </a:r>
          </a:p>
        </p:txBody>
      </p:sp>
    </p:spTree>
    <p:extLst>
      <p:ext uri="{BB962C8B-B14F-4D97-AF65-F5344CB8AC3E}">
        <p14:creationId xmlns:p14="http://schemas.microsoft.com/office/powerpoint/2010/main" val="4334543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88339" y="4874847"/>
            <a:ext cx="468000" cy="135000"/>
          </a:xfrm>
        </p:spPr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90527" y="1242147"/>
            <a:ext cx="8353233" cy="338343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00737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741760"/>
            <a:ext cx="8361362" cy="51204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383309"/>
            <a:ext cx="8361170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90527" y="1374774"/>
            <a:ext cx="8353233" cy="325080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283792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22BC888-CFD9-447A-9CD2-00B89AFE9439}"/>
              </a:ext>
            </a:extLst>
          </p:cNvPr>
          <p:cNvPicPr>
            <a:picLocks noChangeAspect="1"/>
          </p:cNvPicPr>
          <p:nvPr userDrawn="1"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807" y="4758909"/>
            <a:ext cx="578644" cy="25717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2588" y="383309"/>
            <a:ext cx="8361170" cy="78263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88339" y="4877568"/>
            <a:ext cx="468000" cy="135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93604" y="1235870"/>
            <a:ext cx="8350154" cy="338018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i-FI" dirty="0"/>
              <a:t>Click to edit Master text styles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64296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65" r:id="rId2"/>
    <p:sldLayoutId id="2147483768" r:id="rId3"/>
    <p:sldLayoutId id="2147483767" r:id="rId4"/>
    <p:sldLayoutId id="2147483766" r:id="rId5"/>
    <p:sldLayoutId id="2147483720" r:id="rId6"/>
    <p:sldLayoutId id="2147483798" r:id="rId7"/>
    <p:sldLayoutId id="2147483769" r:id="rId8"/>
    <p:sldLayoutId id="2147483731" r:id="rId9"/>
    <p:sldLayoutId id="2147483721" r:id="rId10"/>
    <p:sldLayoutId id="2147483737" r:id="rId11"/>
    <p:sldLayoutId id="2147483764" r:id="rId12"/>
    <p:sldLayoutId id="2147483723" r:id="rId13"/>
    <p:sldLayoutId id="2147483724" r:id="rId14"/>
    <p:sldLayoutId id="2147483730" r:id="rId15"/>
    <p:sldLayoutId id="2147483751" r:id="rId16"/>
    <p:sldLayoutId id="2147483776" r:id="rId17"/>
    <p:sldLayoutId id="2147483778" r:id="rId18"/>
    <p:sldLayoutId id="2147483777" r:id="rId19"/>
    <p:sldLayoutId id="2147483779" r:id="rId20"/>
    <p:sldLayoutId id="2147483781" r:id="rId21"/>
    <p:sldLayoutId id="2147483780" r:id="rId22"/>
    <p:sldLayoutId id="2147483784" r:id="rId23"/>
    <p:sldLayoutId id="2147483782" r:id="rId24"/>
    <p:sldLayoutId id="2147483785" r:id="rId25"/>
    <p:sldLayoutId id="2147483786" r:id="rId26"/>
    <p:sldLayoutId id="2147483787" r:id="rId27"/>
    <p:sldLayoutId id="2147483783" r:id="rId28"/>
    <p:sldLayoutId id="2147483791" r:id="rId29"/>
    <p:sldLayoutId id="2147483790" r:id="rId30"/>
    <p:sldLayoutId id="2147483789" r:id="rId31"/>
    <p:sldLayoutId id="2147483788" r:id="rId32"/>
    <p:sldLayoutId id="2147483792" r:id="rId33"/>
    <p:sldLayoutId id="2147483774" r:id="rId34"/>
    <p:sldLayoutId id="2147483770" r:id="rId35"/>
    <p:sldLayoutId id="2147483771" r:id="rId36"/>
    <p:sldLayoutId id="2147483772" r:id="rId37"/>
    <p:sldLayoutId id="2147483773" r:id="rId38"/>
    <p:sldLayoutId id="2147483734" r:id="rId39"/>
    <p:sldLayoutId id="2147483775" r:id="rId40"/>
    <p:sldLayoutId id="2147483799" r:id="rId41"/>
    <p:sldLayoutId id="2147483802" r:id="rId42"/>
    <p:sldLayoutId id="2147483803" r:id="rId43"/>
    <p:sldLayoutId id="2147483974" r:id="rId44"/>
    <p:sldLayoutId id="2147483975" r:id="rId45"/>
    <p:sldLayoutId id="2147483976" r:id="rId46"/>
    <p:sldLayoutId id="2147483977" r:id="rId47"/>
    <p:sldLayoutId id="2147483978" r:id="rId48"/>
  </p:sldLayoutIdLst>
  <p:hf hd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marR="0" indent="-180975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Lucida Grande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marR="0" indent="-180975" algn="l" defTabSz="91440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Pct val="80000"/>
        <a:buFont typeface="Symbol" panose="05050102010706020507" pitchFamily="18" charset="2"/>
        <a:buChar char="·"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627063" marR="0" indent="-179388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Lucida Grande"/>
        <a:buChar char="–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806450" marR="0" indent="-179388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457200" rtl="0" eaLnBrk="1" latinLnBrk="0" hangingPunct="1">
        <a:lnSpc>
          <a:spcPct val="110000"/>
        </a:lnSpc>
        <a:spcBef>
          <a:spcPts val="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457200" rtl="0" eaLnBrk="1" latinLnBrk="0" hangingPunct="1">
        <a:lnSpc>
          <a:spcPct val="120000"/>
        </a:lnSpc>
        <a:spcBef>
          <a:spcPts val="0"/>
        </a:spcBef>
        <a:buFont typeface="Arial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457200" rtl="0" eaLnBrk="1" latinLnBrk="0" hangingPunct="1">
        <a:lnSpc>
          <a:spcPct val="120000"/>
        </a:lnSpc>
        <a:spcBef>
          <a:spcPts val="0"/>
        </a:spcBef>
        <a:buFont typeface="Arial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2588" y="364388"/>
            <a:ext cx="8378824" cy="65418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HEADLINE GOES HERE</a:t>
            </a:r>
            <a:br>
              <a:rPr lang="en-US"/>
            </a:br>
            <a:r>
              <a:rPr lang="en-US"/>
              <a:t>ARIAL BLACK SIZE 24 ALL CAP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88" y="1396211"/>
            <a:ext cx="8378824" cy="32365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 size 12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A8D4CF3-462E-B449-A618-8975182055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286" r="-1652" b="-6711"/>
          <a:stretch/>
        </p:blipFill>
        <p:spPr>
          <a:xfrm>
            <a:off x="382588" y="4776418"/>
            <a:ext cx="509830" cy="226591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5E91C60-0426-4E4A-B01A-60A05060D18E}"/>
              </a:ext>
            </a:extLst>
          </p:cNvPr>
          <p:cNvCxnSpPr>
            <a:cxnSpLocks/>
          </p:cNvCxnSpPr>
          <p:nvPr userDrawn="1"/>
        </p:nvCxnSpPr>
        <p:spPr>
          <a:xfrm>
            <a:off x="488575" y="1208607"/>
            <a:ext cx="504918" cy="0"/>
          </a:xfrm>
          <a:prstGeom prst="line">
            <a:avLst/>
          </a:prstGeom>
          <a:ln w="57150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5313DD1-9F19-D746-B17A-184F74C581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59865" y="4911365"/>
            <a:ext cx="501547" cy="1297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AA132642-9791-1141-AFFD-62D0FEE9EA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2318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</p:sldLayoutIdLst>
  <p:hf hdr="0" ftr="0" dt="0"/>
  <p:txStyles>
    <p:titleStyle>
      <a:lvl1pPr algn="l" defTabSz="685800" rtl="0" eaLnBrk="1" latinLnBrk="0" hangingPunct="1">
        <a:lnSpc>
          <a:spcPts val="2000"/>
        </a:lnSpc>
        <a:spcBef>
          <a:spcPct val="0"/>
        </a:spcBef>
        <a:spcAft>
          <a:spcPts val="600"/>
        </a:spcAft>
        <a:buNone/>
        <a:defRPr sz="2400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200" kern="1200">
          <a:solidFill>
            <a:schemeClr val="bg1"/>
          </a:solidFill>
          <a:latin typeface="+mn-lt"/>
          <a:ea typeface="+mn-ea"/>
          <a:cs typeface="+mn-cs"/>
        </a:defRPr>
      </a:lvl1pPr>
      <a:lvl2pPr marL="173038" indent="-169863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1100" kern="1200">
          <a:solidFill>
            <a:schemeClr val="bg1"/>
          </a:solidFill>
          <a:latin typeface="+mn-lt"/>
          <a:ea typeface="+mn-ea"/>
          <a:cs typeface="+mn-cs"/>
        </a:defRPr>
      </a:lvl2pPr>
      <a:lvl3pPr marL="40640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1050" kern="1200">
          <a:solidFill>
            <a:schemeClr val="bg1"/>
          </a:solidFill>
          <a:latin typeface="+mn-lt"/>
          <a:ea typeface="+mn-ea"/>
          <a:cs typeface="+mn-cs"/>
        </a:defRPr>
      </a:lvl3pPr>
      <a:lvl4pPr marL="574675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900" kern="1200">
          <a:solidFill>
            <a:schemeClr val="bg1"/>
          </a:solidFill>
          <a:latin typeface="+mn-lt"/>
          <a:ea typeface="+mn-ea"/>
          <a:cs typeface="+mn-cs"/>
        </a:defRPr>
      </a:lvl4pPr>
      <a:lvl5pPr marL="744537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/>
        <a:defRPr sz="900" kern="1200">
          <a:solidFill>
            <a:schemeClr val="bg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svg"/><Relationship Id="rId3" Type="http://schemas.openxmlformats.org/officeDocument/2006/relationships/image" Target="../media/image71.png"/><Relationship Id="rId7" Type="http://schemas.openxmlformats.org/officeDocument/2006/relationships/image" Target="../media/image75.png"/><Relationship Id="rId12" Type="http://schemas.openxmlformats.org/officeDocument/2006/relationships/image" Target="../media/image80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4.svg"/><Relationship Id="rId11" Type="http://schemas.openxmlformats.org/officeDocument/2006/relationships/image" Target="../media/image79.png"/><Relationship Id="rId5" Type="http://schemas.openxmlformats.org/officeDocument/2006/relationships/image" Target="../media/image73.png"/><Relationship Id="rId10" Type="http://schemas.openxmlformats.org/officeDocument/2006/relationships/image" Target="../media/image78.svg"/><Relationship Id="rId4" Type="http://schemas.openxmlformats.org/officeDocument/2006/relationships/image" Target="../media/image72.png"/><Relationship Id="rId9" Type="http://schemas.openxmlformats.org/officeDocument/2006/relationships/image" Target="../media/image7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1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8.svg"/><Relationship Id="rId18" Type="http://schemas.openxmlformats.org/officeDocument/2006/relationships/image" Target="../media/image33.png"/><Relationship Id="rId26" Type="http://schemas.openxmlformats.org/officeDocument/2006/relationships/image" Target="../media/image41.png"/><Relationship Id="rId39" Type="http://schemas.microsoft.com/office/2007/relationships/hdphoto" Target="../media/hdphoto7.wdp"/><Relationship Id="rId21" Type="http://schemas.openxmlformats.org/officeDocument/2006/relationships/image" Target="../media/image36.svg"/><Relationship Id="rId34" Type="http://schemas.openxmlformats.org/officeDocument/2006/relationships/image" Target="../media/image47.png"/><Relationship Id="rId42" Type="http://schemas.openxmlformats.org/officeDocument/2006/relationships/image" Target="../media/image51.png"/><Relationship Id="rId47" Type="http://schemas.microsoft.com/office/2007/relationships/hdphoto" Target="../media/hdphoto11.wdp"/><Relationship Id="rId50" Type="http://schemas.openxmlformats.org/officeDocument/2006/relationships/image" Target="../media/image55.png"/><Relationship Id="rId55" Type="http://schemas.openxmlformats.org/officeDocument/2006/relationships/image" Target="../media/image58.svg"/><Relationship Id="rId7" Type="http://schemas.openxmlformats.org/officeDocument/2006/relationships/image" Target="../media/image23.svg"/><Relationship Id="rId2" Type="http://schemas.openxmlformats.org/officeDocument/2006/relationships/slideLayout" Target="../slideLayouts/slideLayout44.xml"/><Relationship Id="rId16" Type="http://schemas.openxmlformats.org/officeDocument/2006/relationships/image" Target="../media/image31.png"/><Relationship Id="rId29" Type="http://schemas.microsoft.com/office/2007/relationships/hdphoto" Target="../media/hdphoto3.wdp"/><Relationship Id="rId11" Type="http://schemas.microsoft.com/office/2007/relationships/hdphoto" Target="../media/hdphoto2.wdp"/><Relationship Id="rId24" Type="http://schemas.openxmlformats.org/officeDocument/2006/relationships/image" Target="../media/image39.png"/><Relationship Id="rId32" Type="http://schemas.openxmlformats.org/officeDocument/2006/relationships/image" Target="../media/image46.png"/><Relationship Id="rId37" Type="http://schemas.microsoft.com/office/2007/relationships/hdphoto" Target="../media/hdphoto6.wdp"/><Relationship Id="rId40" Type="http://schemas.openxmlformats.org/officeDocument/2006/relationships/image" Target="../media/image50.png"/><Relationship Id="rId45" Type="http://schemas.microsoft.com/office/2007/relationships/hdphoto" Target="../media/hdphoto10.wdp"/><Relationship Id="rId53" Type="http://schemas.microsoft.com/office/2007/relationships/hdphoto" Target="../media/hdphoto14.wdp"/><Relationship Id="rId5" Type="http://schemas.openxmlformats.org/officeDocument/2006/relationships/image" Target="../media/image21.emf"/><Relationship Id="rId10" Type="http://schemas.openxmlformats.org/officeDocument/2006/relationships/image" Target="../media/image26.png"/><Relationship Id="rId19" Type="http://schemas.openxmlformats.org/officeDocument/2006/relationships/image" Target="../media/image34.svg"/><Relationship Id="rId31" Type="http://schemas.openxmlformats.org/officeDocument/2006/relationships/image" Target="../media/image45.svg"/><Relationship Id="rId44" Type="http://schemas.openxmlformats.org/officeDocument/2006/relationships/image" Target="../media/image52.png"/><Relationship Id="rId52" Type="http://schemas.openxmlformats.org/officeDocument/2006/relationships/image" Target="../media/image5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25.svg"/><Relationship Id="rId14" Type="http://schemas.openxmlformats.org/officeDocument/2006/relationships/image" Target="../media/image29.png"/><Relationship Id="rId22" Type="http://schemas.openxmlformats.org/officeDocument/2006/relationships/image" Target="../media/image37.png"/><Relationship Id="rId27" Type="http://schemas.openxmlformats.org/officeDocument/2006/relationships/image" Target="../media/image42.svg"/><Relationship Id="rId30" Type="http://schemas.openxmlformats.org/officeDocument/2006/relationships/image" Target="../media/image44.png"/><Relationship Id="rId35" Type="http://schemas.microsoft.com/office/2007/relationships/hdphoto" Target="../media/hdphoto5.wdp"/><Relationship Id="rId43" Type="http://schemas.microsoft.com/office/2007/relationships/hdphoto" Target="../media/hdphoto9.wdp"/><Relationship Id="rId48" Type="http://schemas.openxmlformats.org/officeDocument/2006/relationships/image" Target="../media/image54.png"/><Relationship Id="rId8" Type="http://schemas.openxmlformats.org/officeDocument/2006/relationships/image" Target="../media/image24.png"/><Relationship Id="rId51" Type="http://schemas.microsoft.com/office/2007/relationships/hdphoto" Target="../media/hdphoto13.wdp"/><Relationship Id="rId3" Type="http://schemas.openxmlformats.org/officeDocument/2006/relationships/notesSlide" Target="../notesSlides/notesSlide2.xml"/><Relationship Id="rId12" Type="http://schemas.openxmlformats.org/officeDocument/2006/relationships/image" Target="../media/image27.png"/><Relationship Id="rId17" Type="http://schemas.openxmlformats.org/officeDocument/2006/relationships/image" Target="../media/image32.svg"/><Relationship Id="rId25" Type="http://schemas.openxmlformats.org/officeDocument/2006/relationships/image" Target="../media/image40.svg"/><Relationship Id="rId33" Type="http://schemas.microsoft.com/office/2007/relationships/hdphoto" Target="../media/hdphoto4.wdp"/><Relationship Id="rId38" Type="http://schemas.openxmlformats.org/officeDocument/2006/relationships/image" Target="../media/image49.png"/><Relationship Id="rId46" Type="http://schemas.openxmlformats.org/officeDocument/2006/relationships/image" Target="../media/image53.png"/><Relationship Id="rId20" Type="http://schemas.openxmlformats.org/officeDocument/2006/relationships/image" Target="../media/image35.png"/><Relationship Id="rId41" Type="http://schemas.microsoft.com/office/2007/relationships/hdphoto" Target="../media/hdphoto8.wdp"/><Relationship Id="rId54" Type="http://schemas.openxmlformats.org/officeDocument/2006/relationships/image" Target="../media/image57.png"/><Relationship Id="rId1" Type="http://schemas.openxmlformats.org/officeDocument/2006/relationships/tags" Target="../tags/tag2.xml"/><Relationship Id="rId6" Type="http://schemas.openxmlformats.org/officeDocument/2006/relationships/image" Target="../media/image22.png"/><Relationship Id="rId15" Type="http://schemas.openxmlformats.org/officeDocument/2006/relationships/image" Target="../media/image30.svg"/><Relationship Id="rId23" Type="http://schemas.openxmlformats.org/officeDocument/2006/relationships/image" Target="../media/image38.svg"/><Relationship Id="rId28" Type="http://schemas.openxmlformats.org/officeDocument/2006/relationships/image" Target="../media/image43.png"/><Relationship Id="rId36" Type="http://schemas.openxmlformats.org/officeDocument/2006/relationships/image" Target="../media/image48.png"/><Relationship Id="rId49" Type="http://schemas.microsoft.com/office/2007/relationships/hdphoto" Target="../media/hdphoto12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sv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62.svg"/><Relationship Id="rId5" Type="http://schemas.openxmlformats.org/officeDocument/2006/relationships/image" Target="../media/image61.png"/><Relationship Id="rId4" Type="http://schemas.openxmlformats.org/officeDocument/2006/relationships/image" Target="../media/image60.sv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7" Type="http://schemas.openxmlformats.org/officeDocument/2006/relationships/image" Target="../media/image70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25C261-8204-49E5-9541-A5ABFE8657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8" y="1779814"/>
            <a:ext cx="6424612" cy="1447267"/>
          </a:xfrm>
        </p:spPr>
        <p:txBody>
          <a:bodyPr/>
          <a:lstStyle/>
          <a:p>
            <a:r>
              <a:rPr lang="en-US" sz="4400" dirty="0"/>
              <a:t>FIS Commercial lending suit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2B6203-1092-2312-6D8B-6F0AA1BAA9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7822105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10"/>
          <p:cNvSpPr txBox="1"/>
          <p:nvPr/>
        </p:nvSpPr>
        <p:spPr>
          <a:xfrm>
            <a:off x="81663" y="1848987"/>
            <a:ext cx="174795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164461" algn="ctr" defTabSz="914378">
              <a:defRPr/>
            </a:pPr>
            <a:r>
              <a:rPr lang="en-US" sz="1600" b="1" dirty="0" err="1">
                <a:solidFill>
                  <a:prstClr val="black"/>
                </a:solidFill>
                <a:latin typeface="Arial"/>
                <a:cs typeface="Arial"/>
              </a:rPr>
              <a:t>Abc</a:t>
            </a:r>
            <a:r>
              <a:rPr lang="en-US" sz="1600" b="1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en-US" sz="1600" b="1" dirty="0" err="1">
                <a:solidFill>
                  <a:prstClr val="black"/>
                </a:solidFill>
                <a:latin typeface="Arial"/>
                <a:cs typeface="Arial"/>
              </a:rPr>
              <a:t>abc</a:t>
            </a:r>
            <a:r>
              <a:rPr lang="en-US" sz="1600" b="1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endParaRPr sz="16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2744" y="3026693"/>
            <a:ext cx="1895450" cy="9983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fi-FI"/>
            </a:defPPr>
            <a:lvl1pPr marL="301625" marR="5080" indent="-289560">
              <a:lnSpc>
                <a:spcPct val="100000"/>
              </a:lnSpc>
              <a:defRPr sz="12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0" indent="12700" algn="ctr" defTabSz="914378">
              <a:defRPr/>
            </a:pPr>
            <a:r>
              <a:rPr lang="en-US" dirty="0" err="1">
                <a:solidFill>
                  <a:prstClr val="black"/>
                </a:solidFill>
              </a:rPr>
              <a:t>Abc</a:t>
            </a:r>
            <a:r>
              <a:rPr lang="en-US" dirty="0">
                <a:solidFill>
                  <a:prstClr val="black"/>
                </a:solidFill>
              </a:rPr>
              <a:t> </a:t>
            </a:r>
          </a:p>
          <a:p>
            <a:pPr marL="0" indent="12700" algn="ctr" defTabSz="914378">
              <a:defRPr/>
            </a:pPr>
            <a:r>
              <a:rPr lang="en-US" dirty="0" err="1">
                <a:solidFill>
                  <a:prstClr val="black"/>
                </a:solidFill>
              </a:rPr>
              <a:t>Abc</a:t>
            </a:r>
            <a:r>
              <a:rPr lang="en-US" dirty="0">
                <a:solidFill>
                  <a:prstClr val="black"/>
                </a:solidFill>
              </a:rPr>
              <a:t> </a:t>
            </a:r>
          </a:p>
          <a:p>
            <a:pPr marL="0" indent="12700" algn="ctr" defTabSz="914378">
              <a:defRPr/>
            </a:pPr>
            <a:r>
              <a:rPr lang="en-US" dirty="0" err="1">
                <a:solidFill>
                  <a:prstClr val="black"/>
                </a:solidFill>
              </a:rPr>
              <a:t>Abc</a:t>
            </a:r>
            <a:r>
              <a:rPr lang="en-US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2" name="object 12"/>
          <p:cNvSpPr/>
          <p:nvPr/>
        </p:nvSpPr>
        <p:spPr>
          <a:xfrm>
            <a:off x="503391" y="2758334"/>
            <a:ext cx="800735" cy="0"/>
          </a:xfrm>
          <a:custGeom>
            <a:avLst/>
            <a:gdLst/>
            <a:ahLst/>
            <a:cxnLst/>
            <a:rect l="l" t="t" r="r" b="b"/>
            <a:pathLst>
              <a:path w="800735">
                <a:moveTo>
                  <a:pt x="0" y="0"/>
                </a:moveTo>
                <a:lnTo>
                  <a:pt x="800227" y="0"/>
                </a:lnTo>
              </a:path>
            </a:pathLst>
          </a:custGeom>
          <a:ln w="25908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 defTabSz="914378">
              <a:defRPr/>
            </a:pPr>
            <a:endParaRPr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710157" y="1857964"/>
            <a:ext cx="178728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26055" marR="5080" indent="-213355" algn="ctr" defTabSz="914378">
              <a:defRPr/>
            </a:pPr>
            <a:r>
              <a:rPr lang="en-US" sz="1600" b="1" dirty="0" err="1">
                <a:solidFill>
                  <a:prstClr val="black"/>
                </a:solidFill>
                <a:latin typeface="Arial"/>
                <a:cs typeface="Arial"/>
              </a:rPr>
              <a:t>Abc</a:t>
            </a:r>
            <a:r>
              <a:rPr lang="en-US" sz="1600" b="1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en-US" sz="1600" b="1" dirty="0" err="1">
                <a:solidFill>
                  <a:prstClr val="black"/>
                </a:solidFill>
                <a:latin typeface="Arial"/>
                <a:cs typeface="Arial"/>
              </a:rPr>
              <a:t>abc</a:t>
            </a:r>
            <a:r>
              <a:rPr lang="en-US" sz="1600" b="1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endParaRPr sz="16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850853" y="2933975"/>
            <a:ext cx="1558677" cy="15633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635" algn="ctr" defTabSz="914378">
              <a:defRPr/>
            </a:pPr>
            <a:r>
              <a:rPr lang="en-US" sz="1200" dirty="0" err="1">
                <a:solidFill>
                  <a:prstClr val="black"/>
                </a:solidFill>
                <a:latin typeface="Arial"/>
                <a:cs typeface="Arial"/>
              </a:rPr>
              <a:t>Abc</a:t>
            </a:r>
            <a:r>
              <a:rPr lang="en-US" sz="120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en-US" sz="1200" dirty="0" err="1">
                <a:solidFill>
                  <a:prstClr val="black"/>
                </a:solidFill>
                <a:latin typeface="Arial"/>
                <a:cs typeface="Arial"/>
              </a:rPr>
              <a:t>abc</a:t>
            </a:r>
            <a:r>
              <a:rPr lang="en-US" sz="120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en-US" sz="1200" dirty="0" err="1">
                <a:solidFill>
                  <a:prstClr val="black"/>
                </a:solidFill>
                <a:latin typeface="Arial"/>
                <a:cs typeface="Arial"/>
              </a:rPr>
              <a:t>abc</a:t>
            </a:r>
            <a:endParaRPr lang="en-US" sz="12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4241889" y="2758334"/>
            <a:ext cx="800735" cy="0"/>
          </a:xfrm>
          <a:custGeom>
            <a:avLst/>
            <a:gdLst/>
            <a:ahLst/>
            <a:cxnLst/>
            <a:rect l="l" t="t" r="r" b="b"/>
            <a:pathLst>
              <a:path w="800735">
                <a:moveTo>
                  <a:pt x="0" y="0"/>
                </a:moveTo>
                <a:lnTo>
                  <a:pt x="800226" y="0"/>
                </a:lnTo>
              </a:path>
            </a:pathLst>
          </a:custGeom>
          <a:ln w="28575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pPr defTabSz="914378">
              <a:defRPr/>
            </a:pPr>
            <a:endParaRPr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2118940" y="2914624"/>
            <a:ext cx="1304455" cy="36068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301618" marR="5080" indent="-289553" algn="ctr" defTabSz="914378">
              <a:defRPr/>
            </a:pPr>
            <a:r>
              <a:rPr lang="en-US" sz="1200" dirty="0" err="1">
                <a:solidFill>
                  <a:prstClr val="black"/>
                </a:solidFill>
                <a:latin typeface="Arial"/>
                <a:cs typeface="Arial"/>
              </a:rPr>
              <a:t>Abc</a:t>
            </a:r>
            <a:r>
              <a:rPr lang="en-US" sz="120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</a:p>
          <a:p>
            <a:pPr marL="301618" marR="5080" indent="-289553" algn="ctr" defTabSz="914378">
              <a:defRPr/>
            </a:pPr>
            <a:r>
              <a:rPr lang="en-US" sz="1200" dirty="0" err="1">
                <a:solidFill>
                  <a:prstClr val="black"/>
                </a:solidFill>
                <a:latin typeface="Arial"/>
                <a:cs typeface="Arial"/>
              </a:rPr>
              <a:t>Abc</a:t>
            </a:r>
            <a:r>
              <a:rPr lang="en-US" sz="120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</a:p>
          <a:p>
            <a:pPr marL="301618" marR="5080" indent="-289553" algn="ctr" defTabSz="914378">
              <a:defRPr/>
            </a:pPr>
            <a:r>
              <a:rPr lang="en-US" sz="1200" dirty="0" err="1">
                <a:solidFill>
                  <a:prstClr val="black"/>
                </a:solidFill>
                <a:latin typeface="Arial"/>
                <a:cs typeface="Arial"/>
              </a:rPr>
              <a:t>Abc</a:t>
            </a:r>
            <a:r>
              <a:rPr lang="en-US" sz="120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2407263" y="2758334"/>
            <a:ext cx="800735" cy="0"/>
          </a:xfrm>
          <a:custGeom>
            <a:avLst/>
            <a:gdLst/>
            <a:ahLst/>
            <a:cxnLst/>
            <a:rect l="l" t="t" r="r" b="b"/>
            <a:pathLst>
              <a:path w="800735">
                <a:moveTo>
                  <a:pt x="0" y="0"/>
                </a:moveTo>
                <a:lnTo>
                  <a:pt x="800226" y="0"/>
                </a:lnTo>
              </a:path>
            </a:pathLst>
          </a:custGeom>
          <a:ln w="25908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pPr defTabSz="914378">
              <a:defRPr/>
            </a:pPr>
            <a:endParaRPr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5715841" y="1841378"/>
            <a:ext cx="149784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49856" marR="5080" indent="-137792" algn="ctr" defTabSz="914378">
              <a:defRPr/>
            </a:pPr>
            <a:r>
              <a:rPr lang="en-US" sz="1600" b="1" dirty="0" err="1">
                <a:solidFill>
                  <a:prstClr val="black"/>
                </a:solidFill>
                <a:latin typeface="Arial"/>
                <a:cs typeface="Arial"/>
              </a:rPr>
              <a:t>Abc</a:t>
            </a:r>
            <a:r>
              <a:rPr lang="en-US" sz="1600" b="1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en-US" sz="1600" b="1" dirty="0" err="1">
                <a:solidFill>
                  <a:prstClr val="black"/>
                </a:solidFill>
                <a:latin typeface="Arial"/>
                <a:cs typeface="Arial"/>
              </a:rPr>
              <a:t>abc</a:t>
            </a:r>
            <a:r>
              <a:rPr lang="en-US" sz="1600" b="1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endParaRPr sz="16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5898430" y="2890848"/>
            <a:ext cx="1252751" cy="178207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fi-FI"/>
            </a:defPPr>
            <a:lvl1pPr marL="301625" marR="5080" indent="-289560">
              <a:lnSpc>
                <a:spcPct val="100000"/>
              </a:lnSpc>
              <a:defRPr sz="12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301618" indent="-289553" algn="ctr" defTabSz="914378">
              <a:defRPr/>
            </a:pPr>
            <a:r>
              <a:rPr lang="en-US" dirty="0" err="1">
                <a:solidFill>
                  <a:prstClr val="black"/>
                </a:solidFill>
              </a:rPr>
              <a:t>Abc</a:t>
            </a:r>
            <a:r>
              <a:rPr lang="en-US" dirty="0">
                <a:solidFill>
                  <a:prstClr val="black"/>
                </a:solidFill>
              </a:rPr>
              <a:t> </a:t>
            </a:r>
          </a:p>
          <a:p>
            <a:pPr marL="301618" indent="-289553" algn="ctr" defTabSz="914378">
              <a:defRPr/>
            </a:pPr>
            <a:r>
              <a:rPr lang="en-US" dirty="0" err="1">
                <a:solidFill>
                  <a:prstClr val="black"/>
                </a:solidFill>
              </a:rPr>
              <a:t>Abc</a:t>
            </a:r>
            <a:r>
              <a:rPr lang="en-US" dirty="0">
                <a:solidFill>
                  <a:prstClr val="black"/>
                </a:solidFill>
              </a:rPr>
              <a:t> </a:t>
            </a:r>
          </a:p>
          <a:p>
            <a:pPr marL="301618" indent="-289553" algn="ctr" defTabSz="914378">
              <a:defRPr/>
            </a:pPr>
            <a:r>
              <a:rPr lang="en-US" dirty="0" err="1">
                <a:solidFill>
                  <a:prstClr val="black"/>
                </a:solidFill>
              </a:rPr>
              <a:t>Abc</a:t>
            </a:r>
            <a:r>
              <a:rPr lang="en-US" dirty="0">
                <a:solidFill>
                  <a:prstClr val="black"/>
                </a:solidFill>
              </a:rPr>
              <a:t>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6123991" y="2759142"/>
            <a:ext cx="800735" cy="0"/>
          </a:xfrm>
          <a:custGeom>
            <a:avLst/>
            <a:gdLst/>
            <a:ahLst/>
            <a:cxnLst/>
            <a:rect l="l" t="t" r="r" b="b"/>
            <a:pathLst>
              <a:path w="800734">
                <a:moveTo>
                  <a:pt x="0" y="0"/>
                </a:moveTo>
                <a:lnTo>
                  <a:pt x="800226" y="0"/>
                </a:lnTo>
              </a:path>
            </a:pathLst>
          </a:custGeom>
          <a:ln w="25908">
            <a:solidFill>
              <a:srgbClr val="7030A0"/>
            </a:solidFill>
          </a:ln>
        </p:spPr>
        <p:txBody>
          <a:bodyPr wrap="square" lIns="0" tIns="0" rIns="0" bIns="0" rtlCol="0"/>
          <a:lstStyle/>
          <a:p>
            <a:pPr defTabSz="914378">
              <a:defRPr/>
            </a:pPr>
            <a:endParaRPr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3803272" y="846868"/>
            <a:ext cx="19812" cy="278439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378">
              <a:defRPr/>
            </a:pPr>
            <a:endParaRPr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1082764" y="4672924"/>
            <a:ext cx="3159125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defTabSz="914378">
              <a:defRPr/>
            </a:pPr>
            <a:r>
              <a:rPr sz="675" baseline="24691" dirty="0">
                <a:solidFill>
                  <a:srgbClr val="FFFFFF"/>
                </a:solidFill>
                <a:latin typeface="Arial"/>
                <a:cs typeface="Arial"/>
              </a:rPr>
              <a:t>*</a:t>
            </a:r>
            <a:r>
              <a:rPr sz="700" spc="-30" dirty="0">
                <a:solidFill>
                  <a:srgbClr val="FFFFFF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700" spc="-15" dirty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ics</a:t>
            </a:r>
            <a:r>
              <a:rPr sz="700" spc="5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ad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jus</a:t>
            </a: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te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d</a:t>
            </a:r>
            <a:r>
              <a:rPr sz="700" spc="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f</a:t>
            </a: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700" spc="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im</a:t>
            </a: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pa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ct</a:t>
            </a:r>
            <a:r>
              <a:rPr sz="700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f</a:t>
            </a:r>
            <a:r>
              <a:rPr sz="700" spc="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ASC</a:t>
            </a:r>
            <a:r>
              <a:rPr sz="700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60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6</a:t>
            </a:r>
            <a:r>
              <a:rPr sz="700" spc="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s</a:t>
            </a:r>
            <a:r>
              <a:rPr sz="700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d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iscl</a:t>
            </a: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s</a:t>
            </a: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d</a:t>
            </a:r>
            <a:r>
              <a:rPr sz="700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in</a:t>
            </a:r>
            <a:r>
              <a:rPr sz="700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700" dirty="0">
                <a:solidFill>
                  <a:srgbClr val="FFFFFF"/>
                </a:solidFill>
                <a:latin typeface="Arial"/>
                <a:cs typeface="Arial"/>
              </a:rPr>
              <a:t>8</a:t>
            </a: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-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K</a:t>
            </a:r>
            <a:r>
              <a:rPr sz="700" spc="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pub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lis</a:t>
            </a: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he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d</a:t>
            </a:r>
            <a:r>
              <a:rPr sz="700" spc="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/</a:t>
            </a: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6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/</a:t>
            </a: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2018</a:t>
            </a:r>
            <a:endParaRPr sz="7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58" name="Slide Number Placeholder 57">
            <a:extLst>
              <a:ext uri="{FF2B5EF4-FFF2-40B4-BE49-F238E27FC236}">
                <a16:creationId xmlns:a16="http://schemas.microsoft.com/office/drawing/2014/main" id="{177D204C-8126-4F19-902B-101A94A199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8">
              <a:defRPr/>
            </a:pPr>
            <a:fld id="{C60C2248-B95D-984B-A0F4-42B9A4652AA7}" type="slidenum">
              <a:rPr lang="en-US" sz="800">
                <a:solidFill>
                  <a:prstClr val="white"/>
                </a:solidFill>
                <a:latin typeface="Arial"/>
              </a:rPr>
              <a:pPr defTabSz="914378">
                <a:defRPr/>
              </a:pPr>
              <a:t>10</a:t>
            </a:fld>
            <a:endParaRPr lang="en-US" sz="8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5" name="object 12">
            <a:extLst>
              <a:ext uri="{FF2B5EF4-FFF2-40B4-BE49-F238E27FC236}">
                <a16:creationId xmlns:a16="http://schemas.microsoft.com/office/drawing/2014/main" id="{08F80BFA-3C69-4C9B-B7DD-5B463E37D41C}"/>
              </a:ext>
            </a:extLst>
          </p:cNvPr>
          <p:cNvSpPr/>
          <p:nvPr/>
        </p:nvSpPr>
        <p:spPr>
          <a:xfrm>
            <a:off x="2423039" y="918334"/>
            <a:ext cx="797681" cy="765668"/>
          </a:xfrm>
          <a:custGeom>
            <a:avLst/>
            <a:gdLst/>
            <a:ahLst/>
            <a:cxnLst/>
            <a:rect l="l" t="t" r="r" b="b"/>
            <a:pathLst>
              <a:path w="1207135" h="1205864">
                <a:moveTo>
                  <a:pt x="603504" y="0"/>
                </a:moveTo>
                <a:lnTo>
                  <a:pt x="554006" y="1998"/>
                </a:lnTo>
                <a:lnTo>
                  <a:pt x="505611" y="7889"/>
                </a:lnTo>
                <a:lnTo>
                  <a:pt x="458473" y="17518"/>
                </a:lnTo>
                <a:lnTo>
                  <a:pt x="412747" y="30729"/>
                </a:lnTo>
                <a:lnTo>
                  <a:pt x="368590" y="47369"/>
                </a:lnTo>
                <a:lnTo>
                  <a:pt x="326156" y="67280"/>
                </a:lnTo>
                <a:lnTo>
                  <a:pt x="285601" y="90308"/>
                </a:lnTo>
                <a:lnTo>
                  <a:pt x="247080" y="116299"/>
                </a:lnTo>
                <a:lnTo>
                  <a:pt x="210747" y="145096"/>
                </a:lnTo>
                <a:lnTo>
                  <a:pt x="176760" y="176545"/>
                </a:lnTo>
                <a:lnTo>
                  <a:pt x="145272" y="210491"/>
                </a:lnTo>
                <a:lnTo>
                  <a:pt x="116439" y="246778"/>
                </a:lnTo>
                <a:lnTo>
                  <a:pt x="90417" y="285251"/>
                </a:lnTo>
                <a:lnTo>
                  <a:pt x="67360" y="325755"/>
                </a:lnTo>
                <a:lnTo>
                  <a:pt x="47425" y="368135"/>
                </a:lnTo>
                <a:lnTo>
                  <a:pt x="30766" y="412235"/>
                </a:lnTo>
                <a:lnTo>
                  <a:pt x="17539" y="457902"/>
                </a:lnTo>
                <a:lnTo>
                  <a:pt x="7898" y="504978"/>
                </a:lnTo>
                <a:lnTo>
                  <a:pt x="2000" y="553310"/>
                </a:lnTo>
                <a:lnTo>
                  <a:pt x="0" y="602742"/>
                </a:lnTo>
                <a:lnTo>
                  <a:pt x="2000" y="652173"/>
                </a:lnTo>
                <a:lnTo>
                  <a:pt x="7898" y="700505"/>
                </a:lnTo>
                <a:lnTo>
                  <a:pt x="17539" y="747581"/>
                </a:lnTo>
                <a:lnTo>
                  <a:pt x="30766" y="793248"/>
                </a:lnTo>
                <a:lnTo>
                  <a:pt x="47425" y="837348"/>
                </a:lnTo>
                <a:lnTo>
                  <a:pt x="67360" y="879728"/>
                </a:lnTo>
                <a:lnTo>
                  <a:pt x="90417" y="920232"/>
                </a:lnTo>
                <a:lnTo>
                  <a:pt x="116439" y="958705"/>
                </a:lnTo>
                <a:lnTo>
                  <a:pt x="145272" y="994992"/>
                </a:lnTo>
                <a:lnTo>
                  <a:pt x="176760" y="1028938"/>
                </a:lnTo>
                <a:lnTo>
                  <a:pt x="210747" y="1060387"/>
                </a:lnTo>
                <a:lnTo>
                  <a:pt x="247080" y="1089184"/>
                </a:lnTo>
                <a:lnTo>
                  <a:pt x="285601" y="1115175"/>
                </a:lnTo>
                <a:lnTo>
                  <a:pt x="326156" y="1138203"/>
                </a:lnTo>
                <a:lnTo>
                  <a:pt x="368590" y="1158114"/>
                </a:lnTo>
                <a:lnTo>
                  <a:pt x="412747" y="1174754"/>
                </a:lnTo>
                <a:lnTo>
                  <a:pt x="458473" y="1187965"/>
                </a:lnTo>
                <a:lnTo>
                  <a:pt x="505611" y="1197594"/>
                </a:lnTo>
                <a:lnTo>
                  <a:pt x="554006" y="1203485"/>
                </a:lnTo>
                <a:lnTo>
                  <a:pt x="603504" y="1205484"/>
                </a:lnTo>
                <a:lnTo>
                  <a:pt x="652992" y="1203485"/>
                </a:lnTo>
                <a:lnTo>
                  <a:pt x="701381" y="1197594"/>
                </a:lnTo>
                <a:lnTo>
                  <a:pt x="748514" y="1187965"/>
                </a:lnTo>
                <a:lnTo>
                  <a:pt x="794235" y="1174754"/>
                </a:lnTo>
                <a:lnTo>
                  <a:pt x="838390" y="1158114"/>
                </a:lnTo>
                <a:lnTo>
                  <a:pt x="880823" y="1138203"/>
                </a:lnTo>
                <a:lnTo>
                  <a:pt x="921378" y="1115175"/>
                </a:lnTo>
                <a:lnTo>
                  <a:pt x="959900" y="1089184"/>
                </a:lnTo>
                <a:lnTo>
                  <a:pt x="996234" y="1060387"/>
                </a:lnTo>
                <a:lnTo>
                  <a:pt x="1030224" y="1028938"/>
                </a:lnTo>
                <a:lnTo>
                  <a:pt x="1061714" y="994992"/>
                </a:lnTo>
                <a:lnTo>
                  <a:pt x="1090550" y="958705"/>
                </a:lnTo>
                <a:lnTo>
                  <a:pt x="1116575" y="920232"/>
                </a:lnTo>
                <a:lnTo>
                  <a:pt x="1139635" y="879728"/>
                </a:lnTo>
                <a:lnTo>
                  <a:pt x="1159573" y="837348"/>
                </a:lnTo>
                <a:lnTo>
                  <a:pt x="1176235" y="793248"/>
                </a:lnTo>
                <a:lnTo>
                  <a:pt x="1189465" y="747581"/>
                </a:lnTo>
                <a:lnTo>
                  <a:pt x="1199107" y="700505"/>
                </a:lnTo>
                <a:lnTo>
                  <a:pt x="1205006" y="652173"/>
                </a:lnTo>
                <a:lnTo>
                  <a:pt x="1207008" y="602742"/>
                </a:lnTo>
                <a:lnTo>
                  <a:pt x="1205006" y="553310"/>
                </a:lnTo>
                <a:lnTo>
                  <a:pt x="1199107" y="504978"/>
                </a:lnTo>
                <a:lnTo>
                  <a:pt x="1189465" y="457902"/>
                </a:lnTo>
                <a:lnTo>
                  <a:pt x="1176235" y="412235"/>
                </a:lnTo>
                <a:lnTo>
                  <a:pt x="1159573" y="368135"/>
                </a:lnTo>
                <a:lnTo>
                  <a:pt x="1139635" y="325755"/>
                </a:lnTo>
                <a:lnTo>
                  <a:pt x="1116575" y="285251"/>
                </a:lnTo>
                <a:lnTo>
                  <a:pt x="1090550" y="246778"/>
                </a:lnTo>
                <a:lnTo>
                  <a:pt x="1061714" y="210491"/>
                </a:lnTo>
                <a:lnTo>
                  <a:pt x="1030224" y="176545"/>
                </a:lnTo>
                <a:lnTo>
                  <a:pt x="996234" y="145096"/>
                </a:lnTo>
                <a:lnTo>
                  <a:pt x="959900" y="116299"/>
                </a:lnTo>
                <a:lnTo>
                  <a:pt x="921378" y="90308"/>
                </a:lnTo>
                <a:lnTo>
                  <a:pt x="880823" y="67280"/>
                </a:lnTo>
                <a:lnTo>
                  <a:pt x="838390" y="47369"/>
                </a:lnTo>
                <a:lnTo>
                  <a:pt x="794235" y="30729"/>
                </a:lnTo>
                <a:lnTo>
                  <a:pt x="748514" y="17518"/>
                </a:lnTo>
                <a:lnTo>
                  <a:pt x="701381" y="7889"/>
                </a:lnTo>
                <a:lnTo>
                  <a:pt x="652992" y="1998"/>
                </a:lnTo>
                <a:lnTo>
                  <a:pt x="603504" y="0"/>
                </a:lnTo>
                <a:close/>
              </a:path>
            </a:pathLst>
          </a:custGeom>
          <a:solidFill>
            <a:schemeClr val="accent2"/>
          </a:solidFill>
          <a:ln w="5080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914378">
              <a:defRPr/>
            </a:pPr>
            <a:endParaRPr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6D72AB00-7E73-485F-A4A8-7459DEA49AAE}"/>
              </a:ext>
            </a:extLst>
          </p:cNvPr>
          <p:cNvSpPr txBox="1">
            <a:spLocks/>
          </p:cNvSpPr>
          <p:nvPr/>
        </p:nvSpPr>
        <p:spPr>
          <a:xfrm>
            <a:off x="252635" y="243223"/>
            <a:ext cx="8638730" cy="377861"/>
          </a:xfrm>
          <a:prstGeom prst="rect">
            <a:avLst/>
          </a:prstGeom>
        </p:spPr>
        <p:txBody>
          <a:bodyPr vert="horz" lIns="0" tIns="0" rIns="0" bIns="0" rtlCol="0" anchor="t">
            <a:normAutofit fontScale="97500"/>
          </a:bodyPr>
          <a:lstStyle>
            <a:lvl1pPr algn="l" defTabSz="4572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457189">
              <a:defRPr/>
            </a:pPr>
            <a:r>
              <a:rPr lang="en-US" sz="2400" dirty="0">
                <a:solidFill>
                  <a:prstClr val="black"/>
                </a:solidFill>
                <a:latin typeface="Arial"/>
              </a:rPr>
              <a:t>Sample Slide </a:t>
            </a:r>
            <a:endParaRPr lang="en-US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5" name="object 12">
            <a:extLst>
              <a:ext uri="{FF2B5EF4-FFF2-40B4-BE49-F238E27FC236}">
                <a16:creationId xmlns:a16="http://schemas.microsoft.com/office/drawing/2014/main" id="{C947FB63-6B3C-455F-B639-CC0DB80518DB}"/>
              </a:ext>
            </a:extLst>
          </p:cNvPr>
          <p:cNvSpPr/>
          <p:nvPr/>
        </p:nvSpPr>
        <p:spPr>
          <a:xfrm>
            <a:off x="4224917" y="918334"/>
            <a:ext cx="797681" cy="765668"/>
          </a:xfrm>
          <a:custGeom>
            <a:avLst/>
            <a:gdLst/>
            <a:ahLst/>
            <a:cxnLst/>
            <a:rect l="l" t="t" r="r" b="b"/>
            <a:pathLst>
              <a:path w="1207135" h="1205864">
                <a:moveTo>
                  <a:pt x="603504" y="0"/>
                </a:moveTo>
                <a:lnTo>
                  <a:pt x="554006" y="1998"/>
                </a:lnTo>
                <a:lnTo>
                  <a:pt x="505611" y="7889"/>
                </a:lnTo>
                <a:lnTo>
                  <a:pt x="458473" y="17518"/>
                </a:lnTo>
                <a:lnTo>
                  <a:pt x="412747" y="30729"/>
                </a:lnTo>
                <a:lnTo>
                  <a:pt x="368590" y="47369"/>
                </a:lnTo>
                <a:lnTo>
                  <a:pt x="326156" y="67280"/>
                </a:lnTo>
                <a:lnTo>
                  <a:pt x="285601" y="90308"/>
                </a:lnTo>
                <a:lnTo>
                  <a:pt x="247080" y="116299"/>
                </a:lnTo>
                <a:lnTo>
                  <a:pt x="210747" y="145096"/>
                </a:lnTo>
                <a:lnTo>
                  <a:pt x="176760" y="176545"/>
                </a:lnTo>
                <a:lnTo>
                  <a:pt x="145272" y="210491"/>
                </a:lnTo>
                <a:lnTo>
                  <a:pt x="116439" y="246778"/>
                </a:lnTo>
                <a:lnTo>
                  <a:pt x="90417" y="285251"/>
                </a:lnTo>
                <a:lnTo>
                  <a:pt x="67360" y="325755"/>
                </a:lnTo>
                <a:lnTo>
                  <a:pt x="47425" y="368135"/>
                </a:lnTo>
                <a:lnTo>
                  <a:pt x="30766" y="412235"/>
                </a:lnTo>
                <a:lnTo>
                  <a:pt x="17539" y="457902"/>
                </a:lnTo>
                <a:lnTo>
                  <a:pt x="7898" y="504978"/>
                </a:lnTo>
                <a:lnTo>
                  <a:pt x="2000" y="553310"/>
                </a:lnTo>
                <a:lnTo>
                  <a:pt x="0" y="602742"/>
                </a:lnTo>
                <a:lnTo>
                  <a:pt x="2000" y="652173"/>
                </a:lnTo>
                <a:lnTo>
                  <a:pt x="7898" y="700505"/>
                </a:lnTo>
                <a:lnTo>
                  <a:pt x="17539" y="747581"/>
                </a:lnTo>
                <a:lnTo>
                  <a:pt x="30766" y="793248"/>
                </a:lnTo>
                <a:lnTo>
                  <a:pt x="47425" y="837348"/>
                </a:lnTo>
                <a:lnTo>
                  <a:pt x="67360" y="879728"/>
                </a:lnTo>
                <a:lnTo>
                  <a:pt x="90417" y="920232"/>
                </a:lnTo>
                <a:lnTo>
                  <a:pt x="116439" y="958705"/>
                </a:lnTo>
                <a:lnTo>
                  <a:pt x="145272" y="994992"/>
                </a:lnTo>
                <a:lnTo>
                  <a:pt x="176760" y="1028938"/>
                </a:lnTo>
                <a:lnTo>
                  <a:pt x="210747" y="1060387"/>
                </a:lnTo>
                <a:lnTo>
                  <a:pt x="247080" y="1089184"/>
                </a:lnTo>
                <a:lnTo>
                  <a:pt x="285601" y="1115175"/>
                </a:lnTo>
                <a:lnTo>
                  <a:pt x="326156" y="1138203"/>
                </a:lnTo>
                <a:lnTo>
                  <a:pt x="368590" y="1158114"/>
                </a:lnTo>
                <a:lnTo>
                  <a:pt x="412747" y="1174754"/>
                </a:lnTo>
                <a:lnTo>
                  <a:pt x="458473" y="1187965"/>
                </a:lnTo>
                <a:lnTo>
                  <a:pt x="505611" y="1197594"/>
                </a:lnTo>
                <a:lnTo>
                  <a:pt x="554006" y="1203485"/>
                </a:lnTo>
                <a:lnTo>
                  <a:pt x="603504" y="1205484"/>
                </a:lnTo>
                <a:lnTo>
                  <a:pt x="652992" y="1203485"/>
                </a:lnTo>
                <a:lnTo>
                  <a:pt x="701381" y="1197594"/>
                </a:lnTo>
                <a:lnTo>
                  <a:pt x="748514" y="1187965"/>
                </a:lnTo>
                <a:lnTo>
                  <a:pt x="794235" y="1174754"/>
                </a:lnTo>
                <a:lnTo>
                  <a:pt x="838390" y="1158114"/>
                </a:lnTo>
                <a:lnTo>
                  <a:pt x="880823" y="1138203"/>
                </a:lnTo>
                <a:lnTo>
                  <a:pt x="921378" y="1115175"/>
                </a:lnTo>
                <a:lnTo>
                  <a:pt x="959900" y="1089184"/>
                </a:lnTo>
                <a:lnTo>
                  <a:pt x="996234" y="1060387"/>
                </a:lnTo>
                <a:lnTo>
                  <a:pt x="1030224" y="1028938"/>
                </a:lnTo>
                <a:lnTo>
                  <a:pt x="1061714" y="994992"/>
                </a:lnTo>
                <a:lnTo>
                  <a:pt x="1090550" y="958705"/>
                </a:lnTo>
                <a:lnTo>
                  <a:pt x="1116575" y="920232"/>
                </a:lnTo>
                <a:lnTo>
                  <a:pt x="1139635" y="879728"/>
                </a:lnTo>
                <a:lnTo>
                  <a:pt x="1159573" y="837348"/>
                </a:lnTo>
                <a:lnTo>
                  <a:pt x="1176235" y="793248"/>
                </a:lnTo>
                <a:lnTo>
                  <a:pt x="1189465" y="747581"/>
                </a:lnTo>
                <a:lnTo>
                  <a:pt x="1199107" y="700505"/>
                </a:lnTo>
                <a:lnTo>
                  <a:pt x="1205006" y="652173"/>
                </a:lnTo>
                <a:lnTo>
                  <a:pt x="1207008" y="602742"/>
                </a:lnTo>
                <a:lnTo>
                  <a:pt x="1205006" y="553310"/>
                </a:lnTo>
                <a:lnTo>
                  <a:pt x="1199107" y="504978"/>
                </a:lnTo>
                <a:lnTo>
                  <a:pt x="1189465" y="457902"/>
                </a:lnTo>
                <a:lnTo>
                  <a:pt x="1176235" y="412235"/>
                </a:lnTo>
                <a:lnTo>
                  <a:pt x="1159573" y="368135"/>
                </a:lnTo>
                <a:lnTo>
                  <a:pt x="1139635" y="325755"/>
                </a:lnTo>
                <a:lnTo>
                  <a:pt x="1116575" y="285251"/>
                </a:lnTo>
                <a:lnTo>
                  <a:pt x="1090550" y="246778"/>
                </a:lnTo>
                <a:lnTo>
                  <a:pt x="1061714" y="210491"/>
                </a:lnTo>
                <a:lnTo>
                  <a:pt x="1030224" y="176545"/>
                </a:lnTo>
                <a:lnTo>
                  <a:pt x="996234" y="145096"/>
                </a:lnTo>
                <a:lnTo>
                  <a:pt x="959900" y="116299"/>
                </a:lnTo>
                <a:lnTo>
                  <a:pt x="921378" y="90308"/>
                </a:lnTo>
                <a:lnTo>
                  <a:pt x="880823" y="67280"/>
                </a:lnTo>
                <a:lnTo>
                  <a:pt x="838390" y="47369"/>
                </a:lnTo>
                <a:lnTo>
                  <a:pt x="794235" y="30729"/>
                </a:lnTo>
                <a:lnTo>
                  <a:pt x="748514" y="17518"/>
                </a:lnTo>
                <a:lnTo>
                  <a:pt x="701381" y="7889"/>
                </a:lnTo>
                <a:lnTo>
                  <a:pt x="652992" y="1998"/>
                </a:lnTo>
                <a:lnTo>
                  <a:pt x="603504" y="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5080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914378">
              <a:defRPr/>
            </a:pPr>
            <a:endParaRPr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9" name="object 12">
            <a:extLst>
              <a:ext uri="{FF2B5EF4-FFF2-40B4-BE49-F238E27FC236}">
                <a16:creationId xmlns:a16="http://schemas.microsoft.com/office/drawing/2014/main" id="{7CB23976-4449-416F-8203-6907150EC8C1}"/>
              </a:ext>
            </a:extLst>
          </p:cNvPr>
          <p:cNvSpPr/>
          <p:nvPr/>
        </p:nvSpPr>
        <p:spPr>
          <a:xfrm>
            <a:off x="6077438" y="911023"/>
            <a:ext cx="797681" cy="765668"/>
          </a:xfrm>
          <a:custGeom>
            <a:avLst/>
            <a:gdLst/>
            <a:ahLst/>
            <a:cxnLst/>
            <a:rect l="l" t="t" r="r" b="b"/>
            <a:pathLst>
              <a:path w="1207135" h="1205864">
                <a:moveTo>
                  <a:pt x="603504" y="0"/>
                </a:moveTo>
                <a:lnTo>
                  <a:pt x="554006" y="1998"/>
                </a:lnTo>
                <a:lnTo>
                  <a:pt x="505611" y="7889"/>
                </a:lnTo>
                <a:lnTo>
                  <a:pt x="458473" y="17518"/>
                </a:lnTo>
                <a:lnTo>
                  <a:pt x="412747" y="30729"/>
                </a:lnTo>
                <a:lnTo>
                  <a:pt x="368590" y="47369"/>
                </a:lnTo>
                <a:lnTo>
                  <a:pt x="326156" y="67280"/>
                </a:lnTo>
                <a:lnTo>
                  <a:pt x="285601" y="90308"/>
                </a:lnTo>
                <a:lnTo>
                  <a:pt x="247080" y="116299"/>
                </a:lnTo>
                <a:lnTo>
                  <a:pt x="210747" y="145096"/>
                </a:lnTo>
                <a:lnTo>
                  <a:pt x="176760" y="176545"/>
                </a:lnTo>
                <a:lnTo>
                  <a:pt x="145272" y="210491"/>
                </a:lnTo>
                <a:lnTo>
                  <a:pt x="116439" y="246778"/>
                </a:lnTo>
                <a:lnTo>
                  <a:pt x="90417" y="285251"/>
                </a:lnTo>
                <a:lnTo>
                  <a:pt x="67360" y="325755"/>
                </a:lnTo>
                <a:lnTo>
                  <a:pt x="47425" y="368135"/>
                </a:lnTo>
                <a:lnTo>
                  <a:pt x="30766" y="412235"/>
                </a:lnTo>
                <a:lnTo>
                  <a:pt x="17539" y="457902"/>
                </a:lnTo>
                <a:lnTo>
                  <a:pt x="7898" y="504978"/>
                </a:lnTo>
                <a:lnTo>
                  <a:pt x="2000" y="553310"/>
                </a:lnTo>
                <a:lnTo>
                  <a:pt x="0" y="602742"/>
                </a:lnTo>
                <a:lnTo>
                  <a:pt x="2000" y="652173"/>
                </a:lnTo>
                <a:lnTo>
                  <a:pt x="7898" y="700505"/>
                </a:lnTo>
                <a:lnTo>
                  <a:pt x="17539" y="747581"/>
                </a:lnTo>
                <a:lnTo>
                  <a:pt x="30766" y="793248"/>
                </a:lnTo>
                <a:lnTo>
                  <a:pt x="47425" y="837348"/>
                </a:lnTo>
                <a:lnTo>
                  <a:pt x="67360" y="879728"/>
                </a:lnTo>
                <a:lnTo>
                  <a:pt x="90417" y="920232"/>
                </a:lnTo>
                <a:lnTo>
                  <a:pt x="116439" y="958705"/>
                </a:lnTo>
                <a:lnTo>
                  <a:pt x="145272" y="994992"/>
                </a:lnTo>
                <a:lnTo>
                  <a:pt x="176760" y="1028938"/>
                </a:lnTo>
                <a:lnTo>
                  <a:pt x="210747" y="1060387"/>
                </a:lnTo>
                <a:lnTo>
                  <a:pt x="247080" y="1089184"/>
                </a:lnTo>
                <a:lnTo>
                  <a:pt x="285601" y="1115175"/>
                </a:lnTo>
                <a:lnTo>
                  <a:pt x="326156" y="1138203"/>
                </a:lnTo>
                <a:lnTo>
                  <a:pt x="368590" y="1158114"/>
                </a:lnTo>
                <a:lnTo>
                  <a:pt x="412747" y="1174754"/>
                </a:lnTo>
                <a:lnTo>
                  <a:pt x="458473" y="1187965"/>
                </a:lnTo>
                <a:lnTo>
                  <a:pt x="505611" y="1197594"/>
                </a:lnTo>
                <a:lnTo>
                  <a:pt x="554006" y="1203485"/>
                </a:lnTo>
                <a:lnTo>
                  <a:pt x="603504" y="1205484"/>
                </a:lnTo>
                <a:lnTo>
                  <a:pt x="652992" y="1203485"/>
                </a:lnTo>
                <a:lnTo>
                  <a:pt x="701381" y="1197594"/>
                </a:lnTo>
                <a:lnTo>
                  <a:pt x="748514" y="1187965"/>
                </a:lnTo>
                <a:lnTo>
                  <a:pt x="794235" y="1174754"/>
                </a:lnTo>
                <a:lnTo>
                  <a:pt x="838390" y="1158114"/>
                </a:lnTo>
                <a:lnTo>
                  <a:pt x="880823" y="1138203"/>
                </a:lnTo>
                <a:lnTo>
                  <a:pt x="921378" y="1115175"/>
                </a:lnTo>
                <a:lnTo>
                  <a:pt x="959900" y="1089184"/>
                </a:lnTo>
                <a:lnTo>
                  <a:pt x="996234" y="1060387"/>
                </a:lnTo>
                <a:lnTo>
                  <a:pt x="1030224" y="1028938"/>
                </a:lnTo>
                <a:lnTo>
                  <a:pt x="1061714" y="994992"/>
                </a:lnTo>
                <a:lnTo>
                  <a:pt x="1090550" y="958705"/>
                </a:lnTo>
                <a:lnTo>
                  <a:pt x="1116575" y="920232"/>
                </a:lnTo>
                <a:lnTo>
                  <a:pt x="1139635" y="879728"/>
                </a:lnTo>
                <a:lnTo>
                  <a:pt x="1159573" y="837348"/>
                </a:lnTo>
                <a:lnTo>
                  <a:pt x="1176235" y="793248"/>
                </a:lnTo>
                <a:lnTo>
                  <a:pt x="1189465" y="747581"/>
                </a:lnTo>
                <a:lnTo>
                  <a:pt x="1199107" y="700505"/>
                </a:lnTo>
                <a:lnTo>
                  <a:pt x="1205006" y="652173"/>
                </a:lnTo>
                <a:lnTo>
                  <a:pt x="1207008" y="602742"/>
                </a:lnTo>
                <a:lnTo>
                  <a:pt x="1205006" y="553310"/>
                </a:lnTo>
                <a:lnTo>
                  <a:pt x="1199107" y="504978"/>
                </a:lnTo>
                <a:lnTo>
                  <a:pt x="1189465" y="457902"/>
                </a:lnTo>
                <a:lnTo>
                  <a:pt x="1176235" y="412235"/>
                </a:lnTo>
                <a:lnTo>
                  <a:pt x="1159573" y="368135"/>
                </a:lnTo>
                <a:lnTo>
                  <a:pt x="1139635" y="325755"/>
                </a:lnTo>
                <a:lnTo>
                  <a:pt x="1116575" y="285251"/>
                </a:lnTo>
                <a:lnTo>
                  <a:pt x="1090550" y="246778"/>
                </a:lnTo>
                <a:lnTo>
                  <a:pt x="1061714" y="210491"/>
                </a:lnTo>
                <a:lnTo>
                  <a:pt x="1030224" y="176545"/>
                </a:lnTo>
                <a:lnTo>
                  <a:pt x="996234" y="145096"/>
                </a:lnTo>
                <a:lnTo>
                  <a:pt x="959900" y="116299"/>
                </a:lnTo>
                <a:lnTo>
                  <a:pt x="921378" y="90308"/>
                </a:lnTo>
                <a:lnTo>
                  <a:pt x="880823" y="67280"/>
                </a:lnTo>
                <a:lnTo>
                  <a:pt x="838390" y="47369"/>
                </a:lnTo>
                <a:lnTo>
                  <a:pt x="794235" y="30729"/>
                </a:lnTo>
                <a:lnTo>
                  <a:pt x="748514" y="17518"/>
                </a:lnTo>
                <a:lnTo>
                  <a:pt x="701381" y="7889"/>
                </a:lnTo>
                <a:lnTo>
                  <a:pt x="652992" y="1998"/>
                </a:lnTo>
                <a:lnTo>
                  <a:pt x="603504" y="0"/>
                </a:lnTo>
                <a:close/>
              </a:path>
            </a:pathLst>
          </a:custGeom>
          <a:solidFill>
            <a:srgbClr val="7030A0"/>
          </a:solidFill>
          <a:ln w="5080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914378">
              <a:defRPr/>
            </a:pPr>
            <a:endParaRPr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7" name="object 12">
            <a:extLst>
              <a:ext uri="{FF2B5EF4-FFF2-40B4-BE49-F238E27FC236}">
                <a16:creationId xmlns:a16="http://schemas.microsoft.com/office/drawing/2014/main" id="{A7B57BC4-3EDE-4A9F-9DCD-BEA3F3FB3D72}"/>
              </a:ext>
            </a:extLst>
          </p:cNvPr>
          <p:cNvSpPr/>
          <p:nvPr/>
        </p:nvSpPr>
        <p:spPr>
          <a:xfrm>
            <a:off x="7859359" y="923164"/>
            <a:ext cx="797681" cy="765668"/>
          </a:xfrm>
          <a:custGeom>
            <a:avLst/>
            <a:gdLst/>
            <a:ahLst/>
            <a:cxnLst/>
            <a:rect l="l" t="t" r="r" b="b"/>
            <a:pathLst>
              <a:path w="1207135" h="1205864">
                <a:moveTo>
                  <a:pt x="603504" y="0"/>
                </a:moveTo>
                <a:lnTo>
                  <a:pt x="554006" y="1998"/>
                </a:lnTo>
                <a:lnTo>
                  <a:pt x="505611" y="7889"/>
                </a:lnTo>
                <a:lnTo>
                  <a:pt x="458473" y="17518"/>
                </a:lnTo>
                <a:lnTo>
                  <a:pt x="412747" y="30729"/>
                </a:lnTo>
                <a:lnTo>
                  <a:pt x="368590" y="47369"/>
                </a:lnTo>
                <a:lnTo>
                  <a:pt x="326156" y="67280"/>
                </a:lnTo>
                <a:lnTo>
                  <a:pt x="285601" y="90308"/>
                </a:lnTo>
                <a:lnTo>
                  <a:pt x="247080" y="116299"/>
                </a:lnTo>
                <a:lnTo>
                  <a:pt x="210747" y="145096"/>
                </a:lnTo>
                <a:lnTo>
                  <a:pt x="176760" y="176545"/>
                </a:lnTo>
                <a:lnTo>
                  <a:pt x="145272" y="210491"/>
                </a:lnTo>
                <a:lnTo>
                  <a:pt x="116439" y="246778"/>
                </a:lnTo>
                <a:lnTo>
                  <a:pt x="90417" y="285251"/>
                </a:lnTo>
                <a:lnTo>
                  <a:pt x="67360" y="325755"/>
                </a:lnTo>
                <a:lnTo>
                  <a:pt x="47425" y="368135"/>
                </a:lnTo>
                <a:lnTo>
                  <a:pt x="30766" y="412235"/>
                </a:lnTo>
                <a:lnTo>
                  <a:pt x="17539" y="457902"/>
                </a:lnTo>
                <a:lnTo>
                  <a:pt x="7898" y="504978"/>
                </a:lnTo>
                <a:lnTo>
                  <a:pt x="2000" y="553310"/>
                </a:lnTo>
                <a:lnTo>
                  <a:pt x="0" y="602742"/>
                </a:lnTo>
                <a:lnTo>
                  <a:pt x="2000" y="652173"/>
                </a:lnTo>
                <a:lnTo>
                  <a:pt x="7898" y="700505"/>
                </a:lnTo>
                <a:lnTo>
                  <a:pt x="17539" y="747581"/>
                </a:lnTo>
                <a:lnTo>
                  <a:pt x="30766" y="793248"/>
                </a:lnTo>
                <a:lnTo>
                  <a:pt x="47425" y="837348"/>
                </a:lnTo>
                <a:lnTo>
                  <a:pt x="67360" y="879728"/>
                </a:lnTo>
                <a:lnTo>
                  <a:pt x="90417" y="920232"/>
                </a:lnTo>
                <a:lnTo>
                  <a:pt x="116439" y="958705"/>
                </a:lnTo>
                <a:lnTo>
                  <a:pt x="145272" y="994992"/>
                </a:lnTo>
                <a:lnTo>
                  <a:pt x="176760" y="1028938"/>
                </a:lnTo>
                <a:lnTo>
                  <a:pt x="210747" y="1060387"/>
                </a:lnTo>
                <a:lnTo>
                  <a:pt x="247080" y="1089184"/>
                </a:lnTo>
                <a:lnTo>
                  <a:pt x="285601" y="1115175"/>
                </a:lnTo>
                <a:lnTo>
                  <a:pt x="326156" y="1138203"/>
                </a:lnTo>
                <a:lnTo>
                  <a:pt x="368590" y="1158114"/>
                </a:lnTo>
                <a:lnTo>
                  <a:pt x="412747" y="1174754"/>
                </a:lnTo>
                <a:lnTo>
                  <a:pt x="458473" y="1187965"/>
                </a:lnTo>
                <a:lnTo>
                  <a:pt x="505611" y="1197594"/>
                </a:lnTo>
                <a:lnTo>
                  <a:pt x="554006" y="1203485"/>
                </a:lnTo>
                <a:lnTo>
                  <a:pt x="603504" y="1205484"/>
                </a:lnTo>
                <a:lnTo>
                  <a:pt x="652992" y="1203485"/>
                </a:lnTo>
                <a:lnTo>
                  <a:pt x="701381" y="1197594"/>
                </a:lnTo>
                <a:lnTo>
                  <a:pt x="748514" y="1187965"/>
                </a:lnTo>
                <a:lnTo>
                  <a:pt x="794235" y="1174754"/>
                </a:lnTo>
                <a:lnTo>
                  <a:pt x="838390" y="1158114"/>
                </a:lnTo>
                <a:lnTo>
                  <a:pt x="880823" y="1138203"/>
                </a:lnTo>
                <a:lnTo>
                  <a:pt x="921378" y="1115175"/>
                </a:lnTo>
                <a:lnTo>
                  <a:pt x="959900" y="1089184"/>
                </a:lnTo>
                <a:lnTo>
                  <a:pt x="996234" y="1060387"/>
                </a:lnTo>
                <a:lnTo>
                  <a:pt x="1030224" y="1028938"/>
                </a:lnTo>
                <a:lnTo>
                  <a:pt x="1061714" y="994992"/>
                </a:lnTo>
                <a:lnTo>
                  <a:pt x="1090550" y="958705"/>
                </a:lnTo>
                <a:lnTo>
                  <a:pt x="1116575" y="920232"/>
                </a:lnTo>
                <a:lnTo>
                  <a:pt x="1139635" y="879728"/>
                </a:lnTo>
                <a:lnTo>
                  <a:pt x="1159573" y="837348"/>
                </a:lnTo>
                <a:lnTo>
                  <a:pt x="1176235" y="793248"/>
                </a:lnTo>
                <a:lnTo>
                  <a:pt x="1189465" y="747581"/>
                </a:lnTo>
                <a:lnTo>
                  <a:pt x="1199107" y="700505"/>
                </a:lnTo>
                <a:lnTo>
                  <a:pt x="1205006" y="652173"/>
                </a:lnTo>
                <a:lnTo>
                  <a:pt x="1207008" y="602742"/>
                </a:lnTo>
                <a:lnTo>
                  <a:pt x="1205006" y="553310"/>
                </a:lnTo>
                <a:lnTo>
                  <a:pt x="1199107" y="504978"/>
                </a:lnTo>
                <a:lnTo>
                  <a:pt x="1189465" y="457902"/>
                </a:lnTo>
                <a:lnTo>
                  <a:pt x="1176235" y="412235"/>
                </a:lnTo>
                <a:lnTo>
                  <a:pt x="1159573" y="368135"/>
                </a:lnTo>
                <a:lnTo>
                  <a:pt x="1139635" y="325755"/>
                </a:lnTo>
                <a:lnTo>
                  <a:pt x="1116575" y="285251"/>
                </a:lnTo>
                <a:lnTo>
                  <a:pt x="1090550" y="246778"/>
                </a:lnTo>
                <a:lnTo>
                  <a:pt x="1061714" y="210491"/>
                </a:lnTo>
                <a:lnTo>
                  <a:pt x="1030224" y="176545"/>
                </a:lnTo>
                <a:lnTo>
                  <a:pt x="996234" y="145096"/>
                </a:lnTo>
                <a:lnTo>
                  <a:pt x="959900" y="116299"/>
                </a:lnTo>
                <a:lnTo>
                  <a:pt x="921378" y="90308"/>
                </a:lnTo>
                <a:lnTo>
                  <a:pt x="880823" y="67280"/>
                </a:lnTo>
                <a:lnTo>
                  <a:pt x="838390" y="47369"/>
                </a:lnTo>
                <a:lnTo>
                  <a:pt x="794235" y="30729"/>
                </a:lnTo>
                <a:lnTo>
                  <a:pt x="748514" y="17518"/>
                </a:lnTo>
                <a:lnTo>
                  <a:pt x="701381" y="7889"/>
                </a:lnTo>
                <a:lnTo>
                  <a:pt x="652992" y="1998"/>
                </a:lnTo>
                <a:lnTo>
                  <a:pt x="603504" y="0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 w="5080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914378">
              <a:defRPr/>
            </a:pPr>
            <a:endParaRPr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0" name="object 33">
            <a:extLst>
              <a:ext uri="{FF2B5EF4-FFF2-40B4-BE49-F238E27FC236}">
                <a16:creationId xmlns:a16="http://schemas.microsoft.com/office/drawing/2014/main" id="{8B998E2A-1EAE-448B-8E8E-8E7FEE750DF6}"/>
              </a:ext>
            </a:extLst>
          </p:cNvPr>
          <p:cNvSpPr/>
          <p:nvPr/>
        </p:nvSpPr>
        <p:spPr>
          <a:xfrm>
            <a:off x="7856305" y="2783523"/>
            <a:ext cx="800735" cy="0"/>
          </a:xfrm>
          <a:custGeom>
            <a:avLst/>
            <a:gdLst/>
            <a:ahLst/>
            <a:cxnLst/>
            <a:rect l="l" t="t" r="r" b="b"/>
            <a:pathLst>
              <a:path w="800734">
                <a:moveTo>
                  <a:pt x="0" y="0"/>
                </a:moveTo>
                <a:lnTo>
                  <a:pt x="800226" y="0"/>
                </a:lnTo>
              </a:path>
            </a:pathLst>
          </a:custGeom>
          <a:ln w="25908">
            <a:solidFill>
              <a:schemeClr val="accent6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pPr defTabSz="914378">
              <a:defRPr/>
            </a:pPr>
            <a:endParaRPr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3" name="object 31">
            <a:extLst>
              <a:ext uri="{FF2B5EF4-FFF2-40B4-BE49-F238E27FC236}">
                <a16:creationId xmlns:a16="http://schemas.microsoft.com/office/drawing/2014/main" id="{E36EE814-FEEB-449F-A301-063A8536FF4B}"/>
              </a:ext>
            </a:extLst>
          </p:cNvPr>
          <p:cNvSpPr txBox="1"/>
          <p:nvPr/>
        </p:nvSpPr>
        <p:spPr>
          <a:xfrm>
            <a:off x="7544695" y="1841378"/>
            <a:ext cx="1395343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49856" marR="5080" indent="-137792" algn="ctr" defTabSz="914378">
              <a:defRPr/>
            </a:pPr>
            <a:r>
              <a:rPr lang="en-US" sz="1600" b="1" dirty="0" err="1">
                <a:solidFill>
                  <a:prstClr val="black"/>
                </a:solidFill>
                <a:latin typeface="Arial"/>
                <a:cs typeface="Arial"/>
              </a:rPr>
              <a:t>Abc</a:t>
            </a:r>
            <a:r>
              <a:rPr lang="en-US" sz="1600" b="1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en-US" sz="1600" b="1" dirty="0" err="1">
                <a:solidFill>
                  <a:prstClr val="black"/>
                </a:solidFill>
                <a:latin typeface="Arial"/>
                <a:cs typeface="Arial"/>
              </a:rPr>
              <a:t>abc</a:t>
            </a:r>
            <a:r>
              <a:rPr lang="en-US" sz="1600" b="1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endParaRPr sz="16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2" name="object 12">
            <a:extLst>
              <a:ext uri="{FF2B5EF4-FFF2-40B4-BE49-F238E27FC236}">
                <a16:creationId xmlns:a16="http://schemas.microsoft.com/office/drawing/2014/main" id="{256B5404-07A5-429D-93F7-13FE63DED959}"/>
              </a:ext>
            </a:extLst>
          </p:cNvPr>
          <p:cNvSpPr/>
          <p:nvPr/>
        </p:nvSpPr>
        <p:spPr>
          <a:xfrm>
            <a:off x="615221" y="911023"/>
            <a:ext cx="797681" cy="765668"/>
          </a:xfrm>
          <a:custGeom>
            <a:avLst/>
            <a:gdLst/>
            <a:ahLst/>
            <a:cxnLst/>
            <a:rect l="l" t="t" r="r" b="b"/>
            <a:pathLst>
              <a:path w="1207135" h="1205864">
                <a:moveTo>
                  <a:pt x="603504" y="0"/>
                </a:moveTo>
                <a:lnTo>
                  <a:pt x="554006" y="1998"/>
                </a:lnTo>
                <a:lnTo>
                  <a:pt x="505611" y="7889"/>
                </a:lnTo>
                <a:lnTo>
                  <a:pt x="458473" y="17518"/>
                </a:lnTo>
                <a:lnTo>
                  <a:pt x="412747" y="30729"/>
                </a:lnTo>
                <a:lnTo>
                  <a:pt x="368590" y="47369"/>
                </a:lnTo>
                <a:lnTo>
                  <a:pt x="326156" y="67280"/>
                </a:lnTo>
                <a:lnTo>
                  <a:pt x="285601" y="90308"/>
                </a:lnTo>
                <a:lnTo>
                  <a:pt x="247080" y="116299"/>
                </a:lnTo>
                <a:lnTo>
                  <a:pt x="210747" y="145096"/>
                </a:lnTo>
                <a:lnTo>
                  <a:pt x="176760" y="176545"/>
                </a:lnTo>
                <a:lnTo>
                  <a:pt x="145272" y="210491"/>
                </a:lnTo>
                <a:lnTo>
                  <a:pt x="116439" y="246778"/>
                </a:lnTo>
                <a:lnTo>
                  <a:pt x="90417" y="285251"/>
                </a:lnTo>
                <a:lnTo>
                  <a:pt x="67360" y="325755"/>
                </a:lnTo>
                <a:lnTo>
                  <a:pt x="47425" y="368135"/>
                </a:lnTo>
                <a:lnTo>
                  <a:pt x="30766" y="412235"/>
                </a:lnTo>
                <a:lnTo>
                  <a:pt x="17539" y="457902"/>
                </a:lnTo>
                <a:lnTo>
                  <a:pt x="7898" y="504978"/>
                </a:lnTo>
                <a:lnTo>
                  <a:pt x="2000" y="553310"/>
                </a:lnTo>
                <a:lnTo>
                  <a:pt x="0" y="602742"/>
                </a:lnTo>
                <a:lnTo>
                  <a:pt x="2000" y="652173"/>
                </a:lnTo>
                <a:lnTo>
                  <a:pt x="7898" y="700505"/>
                </a:lnTo>
                <a:lnTo>
                  <a:pt x="17539" y="747581"/>
                </a:lnTo>
                <a:lnTo>
                  <a:pt x="30766" y="793248"/>
                </a:lnTo>
                <a:lnTo>
                  <a:pt x="47425" y="837348"/>
                </a:lnTo>
                <a:lnTo>
                  <a:pt x="67360" y="879728"/>
                </a:lnTo>
                <a:lnTo>
                  <a:pt x="90417" y="920232"/>
                </a:lnTo>
                <a:lnTo>
                  <a:pt x="116439" y="958705"/>
                </a:lnTo>
                <a:lnTo>
                  <a:pt x="145272" y="994992"/>
                </a:lnTo>
                <a:lnTo>
                  <a:pt x="176760" y="1028938"/>
                </a:lnTo>
                <a:lnTo>
                  <a:pt x="210747" y="1060387"/>
                </a:lnTo>
                <a:lnTo>
                  <a:pt x="247080" y="1089184"/>
                </a:lnTo>
                <a:lnTo>
                  <a:pt x="285601" y="1115175"/>
                </a:lnTo>
                <a:lnTo>
                  <a:pt x="326156" y="1138203"/>
                </a:lnTo>
                <a:lnTo>
                  <a:pt x="368590" y="1158114"/>
                </a:lnTo>
                <a:lnTo>
                  <a:pt x="412747" y="1174754"/>
                </a:lnTo>
                <a:lnTo>
                  <a:pt x="458473" y="1187965"/>
                </a:lnTo>
                <a:lnTo>
                  <a:pt x="505611" y="1197594"/>
                </a:lnTo>
                <a:lnTo>
                  <a:pt x="554006" y="1203485"/>
                </a:lnTo>
                <a:lnTo>
                  <a:pt x="603504" y="1205484"/>
                </a:lnTo>
                <a:lnTo>
                  <a:pt x="652992" y="1203485"/>
                </a:lnTo>
                <a:lnTo>
                  <a:pt x="701381" y="1197594"/>
                </a:lnTo>
                <a:lnTo>
                  <a:pt x="748514" y="1187965"/>
                </a:lnTo>
                <a:lnTo>
                  <a:pt x="794235" y="1174754"/>
                </a:lnTo>
                <a:lnTo>
                  <a:pt x="838390" y="1158114"/>
                </a:lnTo>
                <a:lnTo>
                  <a:pt x="880823" y="1138203"/>
                </a:lnTo>
                <a:lnTo>
                  <a:pt x="921378" y="1115175"/>
                </a:lnTo>
                <a:lnTo>
                  <a:pt x="959900" y="1089184"/>
                </a:lnTo>
                <a:lnTo>
                  <a:pt x="996234" y="1060387"/>
                </a:lnTo>
                <a:lnTo>
                  <a:pt x="1030224" y="1028938"/>
                </a:lnTo>
                <a:lnTo>
                  <a:pt x="1061714" y="994992"/>
                </a:lnTo>
                <a:lnTo>
                  <a:pt x="1090550" y="958705"/>
                </a:lnTo>
                <a:lnTo>
                  <a:pt x="1116575" y="920232"/>
                </a:lnTo>
                <a:lnTo>
                  <a:pt x="1139635" y="879728"/>
                </a:lnTo>
                <a:lnTo>
                  <a:pt x="1159573" y="837348"/>
                </a:lnTo>
                <a:lnTo>
                  <a:pt x="1176235" y="793248"/>
                </a:lnTo>
                <a:lnTo>
                  <a:pt x="1189465" y="747581"/>
                </a:lnTo>
                <a:lnTo>
                  <a:pt x="1199107" y="700505"/>
                </a:lnTo>
                <a:lnTo>
                  <a:pt x="1205006" y="652173"/>
                </a:lnTo>
                <a:lnTo>
                  <a:pt x="1207008" y="602742"/>
                </a:lnTo>
                <a:lnTo>
                  <a:pt x="1205006" y="553310"/>
                </a:lnTo>
                <a:lnTo>
                  <a:pt x="1199107" y="504978"/>
                </a:lnTo>
                <a:lnTo>
                  <a:pt x="1189465" y="457902"/>
                </a:lnTo>
                <a:lnTo>
                  <a:pt x="1176235" y="412235"/>
                </a:lnTo>
                <a:lnTo>
                  <a:pt x="1159573" y="368135"/>
                </a:lnTo>
                <a:lnTo>
                  <a:pt x="1139635" y="325755"/>
                </a:lnTo>
                <a:lnTo>
                  <a:pt x="1116575" y="285251"/>
                </a:lnTo>
                <a:lnTo>
                  <a:pt x="1090550" y="246778"/>
                </a:lnTo>
                <a:lnTo>
                  <a:pt x="1061714" y="210491"/>
                </a:lnTo>
                <a:lnTo>
                  <a:pt x="1030224" y="176545"/>
                </a:lnTo>
                <a:lnTo>
                  <a:pt x="996234" y="145096"/>
                </a:lnTo>
                <a:lnTo>
                  <a:pt x="959900" y="116299"/>
                </a:lnTo>
                <a:lnTo>
                  <a:pt x="921378" y="90308"/>
                </a:lnTo>
                <a:lnTo>
                  <a:pt x="880823" y="67280"/>
                </a:lnTo>
                <a:lnTo>
                  <a:pt x="838390" y="47369"/>
                </a:lnTo>
                <a:lnTo>
                  <a:pt x="794235" y="30729"/>
                </a:lnTo>
                <a:lnTo>
                  <a:pt x="748514" y="17518"/>
                </a:lnTo>
                <a:lnTo>
                  <a:pt x="701381" y="7889"/>
                </a:lnTo>
                <a:lnTo>
                  <a:pt x="652992" y="1998"/>
                </a:lnTo>
                <a:lnTo>
                  <a:pt x="603504" y="0"/>
                </a:lnTo>
                <a:close/>
              </a:path>
            </a:pathLst>
          </a:custGeom>
          <a:solidFill>
            <a:schemeClr val="accent1"/>
          </a:solidFill>
          <a:ln w="5080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914378">
              <a:defRPr/>
            </a:pPr>
            <a:endParaRPr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4" name="object 20">
            <a:extLst>
              <a:ext uri="{FF2B5EF4-FFF2-40B4-BE49-F238E27FC236}">
                <a16:creationId xmlns:a16="http://schemas.microsoft.com/office/drawing/2014/main" id="{A1008941-C724-480B-B5CD-08F9746A1534}"/>
              </a:ext>
            </a:extLst>
          </p:cNvPr>
          <p:cNvSpPr/>
          <p:nvPr/>
        </p:nvSpPr>
        <p:spPr>
          <a:xfrm>
            <a:off x="8044289" y="1133243"/>
            <a:ext cx="397693" cy="38568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378">
              <a:defRPr/>
            </a:pPr>
            <a:endParaRPr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5" name="object 17">
            <a:extLst>
              <a:ext uri="{FF2B5EF4-FFF2-40B4-BE49-F238E27FC236}">
                <a16:creationId xmlns:a16="http://schemas.microsoft.com/office/drawing/2014/main" id="{BF22F78C-8ED5-4DA9-891E-B6058ECBCF89}"/>
              </a:ext>
            </a:extLst>
          </p:cNvPr>
          <p:cNvSpPr txBox="1"/>
          <p:nvPr/>
        </p:nvSpPr>
        <p:spPr>
          <a:xfrm>
            <a:off x="1898332" y="1948493"/>
            <a:ext cx="157042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fi-FI"/>
            </a:defPPr>
            <a:lvl1pPr marL="12700" marR="5080" indent="164461" algn="ctr" defTabSz="914378">
              <a:defRPr sz="1600" b="1">
                <a:solidFill>
                  <a:prstClr val="black"/>
                </a:solidFill>
                <a:latin typeface="Arial"/>
                <a:cs typeface="Arial"/>
              </a:defRPr>
            </a:lvl1pPr>
          </a:lstStyle>
          <a:p>
            <a:r>
              <a:rPr lang="en-US" dirty="0" err="1"/>
              <a:t>Abc</a:t>
            </a:r>
            <a:r>
              <a:rPr lang="en-US" dirty="0"/>
              <a:t> </a:t>
            </a:r>
            <a:r>
              <a:rPr lang="en-US" dirty="0" err="1"/>
              <a:t>abc</a:t>
            </a:r>
            <a:r>
              <a:rPr lang="en-US" dirty="0"/>
              <a:t> </a:t>
            </a:r>
            <a:endParaRPr dirty="0"/>
          </a:p>
        </p:txBody>
      </p:sp>
      <p:pic>
        <p:nvPicPr>
          <p:cNvPr id="3" name="Graphic 2" descr="Bank">
            <a:extLst>
              <a:ext uri="{FF2B5EF4-FFF2-40B4-BE49-F238E27FC236}">
                <a16:creationId xmlns:a16="http://schemas.microsoft.com/office/drawing/2014/main" id="{4ABC5C35-EB1E-48FB-8722-D23B747B5E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3420" y="1017729"/>
            <a:ext cx="492443" cy="492443"/>
          </a:xfrm>
          <a:prstGeom prst="rect">
            <a:avLst/>
          </a:prstGeom>
        </p:spPr>
      </p:pic>
      <p:pic>
        <p:nvPicPr>
          <p:cNvPr id="6" name="Graphic 5" descr="Circular flowchart">
            <a:extLst>
              <a:ext uri="{FF2B5EF4-FFF2-40B4-BE49-F238E27FC236}">
                <a16:creationId xmlns:a16="http://schemas.microsoft.com/office/drawing/2014/main" id="{E4EC63EC-9BB9-4A81-8D02-E2C7AFDCF18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63883" y="1043489"/>
            <a:ext cx="500733" cy="500733"/>
          </a:xfrm>
          <a:prstGeom prst="rect">
            <a:avLst/>
          </a:prstGeom>
        </p:spPr>
      </p:pic>
      <p:pic>
        <p:nvPicPr>
          <p:cNvPr id="15" name="Graphic 14" descr="Cloud">
            <a:extLst>
              <a:ext uri="{FF2B5EF4-FFF2-40B4-BE49-F238E27FC236}">
                <a16:creationId xmlns:a16="http://schemas.microsoft.com/office/drawing/2014/main" id="{3573EFFA-F6D0-4375-B119-B2162C2423A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380206" y="1048660"/>
            <a:ext cx="492444" cy="492444"/>
          </a:xfrm>
          <a:prstGeom prst="rect">
            <a:avLst/>
          </a:prstGeom>
        </p:spPr>
      </p:pic>
      <p:pic>
        <p:nvPicPr>
          <p:cNvPr id="21" name="Graphic 20" descr="Playbook">
            <a:extLst>
              <a:ext uri="{FF2B5EF4-FFF2-40B4-BE49-F238E27FC236}">
                <a16:creationId xmlns:a16="http://schemas.microsoft.com/office/drawing/2014/main" id="{4444D508-6190-4E6F-9708-F3DA13178B0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209876" y="1024327"/>
            <a:ext cx="519449" cy="519449"/>
          </a:xfrm>
          <a:prstGeom prst="rect">
            <a:avLst/>
          </a:prstGeom>
        </p:spPr>
      </p:pic>
      <p:sp>
        <p:nvSpPr>
          <p:cNvPr id="66" name="object 32">
            <a:extLst>
              <a:ext uri="{FF2B5EF4-FFF2-40B4-BE49-F238E27FC236}">
                <a16:creationId xmlns:a16="http://schemas.microsoft.com/office/drawing/2014/main" id="{D679F4F9-07F5-4327-B0FF-A1C92E4BAFB9}"/>
              </a:ext>
            </a:extLst>
          </p:cNvPr>
          <p:cNvSpPr txBox="1"/>
          <p:nvPr/>
        </p:nvSpPr>
        <p:spPr>
          <a:xfrm>
            <a:off x="7501352" y="2992624"/>
            <a:ext cx="1474247" cy="175829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fi-FI"/>
            </a:defPPr>
            <a:lvl1pPr marL="301625" marR="5080" indent="-289560">
              <a:lnSpc>
                <a:spcPct val="100000"/>
              </a:lnSpc>
              <a:defRPr sz="12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301618" indent="-289553" algn="ctr" defTabSz="914378">
              <a:defRPr/>
            </a:pPr>
            <a:r>
              <a:rPr lang="en-US" dirty="0" err="1">
                <a:solidFill>
                  <a:prstClr val="black"/>
                </a:solidFill>
              </a:rPr>
              <a:t>Abc</a:t>
            </a:r>
            <a:r>
              <a:rPr lang="en-US" dirty="0">
                <a:solidFill>
                  <a:prstClr val="black"/>
                </a:solidFill>
              </a:rPr>
              <a:t> </a:t>
            </a:r>
          </a:p>
          <a:p>
            <a:pPr marL="301618" indent="-289553" algn="ctr" defTabSz="914378">
              <a:defRPr/>
            </a:pPr>
            <a:r>
              <a:rPr lang="en-US" dirty="0" err="1">
                <a:solidFill>
                  <a:prstClr val="black"/>
                </a:solidFill>
              </a:rPr>
              <a:t>Abc</a:t>
            </a:r>
            <a:r>
              <a:rPr lang="en-US" dirty="0">
                <a:solidFill>
                  <a:prstClr val="black"/>
                </a:solidFill>
              </a:rPr>
              <a:t> a</a:t>
            </a:r>
          </a:p>
          <a:p>
            <a:pPr marL="301618" indent="-289553" algn="ctr" defTabSz="914378">
              <a:defRPr/>
            </a:pPr>
            <a:r>
              <a:rPr lang="en-US" dirty="0" err="1">
                <a:solidFill>
                  <a:prstClr val="black"/>
                </a:solidFill>
              </a:rPr>
              <a:t>Abc</a:t>
            </a:r>
            <a:r>
              <a:rPr lang="en-US" dirty="0">
                <a:solidFill>
                  <a:prstClr val="black"/>
                </a:solidFill>
              </a:rPr>
              <a:t>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8" name="Slide Number Placeholder 1">
            <a:extLst>
              <a:ext uri="{FF2B5EF4-FFF2-40B4-BE49-F238E27FC236}">
                <a16:creationId xmlns:a16="http://schemas.microsoft.com/office/drawing/2014/main" id="{F99C6BB0-7948-4973-A564-A349A964520A}"/>
              </a:ext>
            </a:extLst>
          </p:cNvPr>
          <p:cNvSpPr txBox="1">
            <a:spLocks/>
          </p:cNvSpPr>
          <p:nvPr/>
        </p:nvSpPr>
        <p:spPr>
          <a:xfrm>
            <a:off x="8474338" y="4834928"/>
            <a:ext cx="468000" cy="135000"/>
          </a:xfrm>
          <a:prstGeom prst="rect">
            <a:avLst/>
          </a:prstGeom>
        </p:spPr>
        <p:txBody>
          <a:bodyPr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78">
              <a:defRPr/>
            </a:pPr>
            <a:fld id="{C60C2248-B95D-984B-A0F4-42B9A4652AA7}" type="slidenum"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pPr algn="r" defTabSz="914378">
                <a:defRPr/>
              </a:pPr>
              <a:t>10</a:t>
            </a:fld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491880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 animBg="1"/>
      <p:bldP spid="17" grpId="0"/>
      <p:bldP spid="18" grpId="0"/>
      <p:bldP spid="19" grpId="0" animBg="1"/>
      <p:bldP spid="25" grpId="0"/>
      <p:bldP spid="26" grpId="0" animBg="1"/>
      <p:bldP spid="31" grpId="0"/>
      <p:bldP spid="32" grpId="0"/>
      <p:bldP spid="33" grpId="0" animBg="1"/>
      <p:bldP spid="55" grpId="0" animBg="1"/>
      <p:bldP spid="35" grpId="0" animBg="1"/>
      <p:bldP spid="39" grpId="0" animBg="1"/>
      <p:bldP spid="47" grpId="0" animBg="1"/>
      <p:bldP spid="50" grpId="0" animBg="1"/>
      <p:bldP spid="53" grpId="0"/>
      <p:bldP spid="62" grpId="0" animBg="1"/>
      <p:bldP spid="65" grpId="0"/>
      <p:bldP spid="6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2232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2">
            <a:extLst>
              <a:ext uri="{FF2B5EF4-FFF2-40B4-BE49-F238E27FC236}">
                <a16:creationId xmlns:a16="http://schemas.microsoft.com/office/drawing/2014/main" id="{375EA4F0-C187-80EE-D140-59288CE4C8F7}"/>
              </a:ext>
            </a:extLst>
          </p:cNvPr>
          <p:cNvSpPr txBox="1">
            <a:spLocks/>
          </p:cNvSpPr>
          <p:nvPr/>
        </p:nvSpPr>
        <p:spPr>
          <a:xfrm>
            <a:off x="127221" y="740569"/>
            <a:ext cx="8902479" cy="365521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1" marR="0" indent="-163509" algn="l" defTabSz="91437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4BCD3E"/>
              </a:buClr>
              <a:buSzTx/>
              <a:buFont typeface="Arial" panose="020B0604020202020204" pitchFamily="34" charset="0"/>
              <a:buChar char="•"/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0829" marR="0" indent="-163509" algn="l" defTabSz="91437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80000"/>
              <a:buFont typeface="System Font Regular"/>
              <a:buChar char="−"/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47" marR="0" indent="-179384" algn="l" defTabSz="914378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Lucida Grande"/>
              <a:buChar char="–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430" marR="0" indent="-179384" algn="l" defTabSz="914378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991" indent="-179996" algn="l" defTabSz="457189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189" rtl="0" eaLnBrk="1" latinLnBrk="0" hangingPunct="1">
              <a:lnSpc>
                <a:spcPct val="120000"/>
              </a:lnSpc>
              <a:spcBef>
                <a:spcPts val="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457189" rtl="0" eaLnBrk="1" latinLnBrk="0" hangingPunct="1">
              <a:lnSpc>
                <a:spcPct val="120000"/>
              </a:lnSpc>
              <a:spcBef>
                <a:spcPts val="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1" marR="0" lvl="1" indent="-174621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>
                <a:srgbClr val="4BCD3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marL="0" marR="0" lvl="1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>
                <a:srgbClr val="4BCD3E"/>
              </a:buClr>
              <a:buSzTx/>
              <a:buNone/>
              <a:tabLst/>
              <a:defRPr/>
            </a:pPr>
            <a:endParaRPr kumimoji="0" lang="en-US" sz="18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panose="020B0A040201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itle 28">
            <a:extLst>
              <a:ext uri="{FF2B5EF4-FFF2-40B4-BE49-F238E27FC236}">
                <a16:creationId xmlns:a16="http://schemas.microsoft.com/office/drawing/2014/main" id="{40FDF3FF-3947-FDCB-B274-C553B5464B99}"/>
              </a:ext>
            </a:extLst>
          </p:cNvPr>
          <p:cNvSpPr txBox="1">
            <a:spLocks/>
          </p:cNvSpPr>
          <p:nvPr/>
        </p:nvSpPr>
        <p:spPr>
          <a:xfrm>
            <a:off x="298097" y="264644"/>
            <a:ext cx="8572500" cy="454751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ctr" defTabSz="685783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None/>
              <a:defRPr sz="1950" b="1" i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A04020102020204"/>
                <a:ea typeface="+mj-ea"/>
                <a:cs typeface="+mj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43330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018F93-D3AB-15B7-B2CF-E7A18E0E30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AU"/>
              <a:t>About</a:t>
            </a:r>
          </a:p>
          <a:p>
            <a:r>
              <a:rPr lang="en-AU"/>
              <a:t>U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841DC7B-8664-2660-CACB-23765C3B623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4767263"/>
            <a:ext cx="136525" cy="27463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30551D-6E63-4D32-98AF-2E81277E1E18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2607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099F7A-677E-7759-8D36-B9DA5FC54B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lose-up of a white surface&#10;&#10;Description automatically generated">
            <a:extLst>
              <a:ext uri="{FF2B5EF4-FFF2-40B4-BE49-F238E27FC236}">
                <a16:creationId xmlns:a16="http://schemas.microsoft.com/office/drawing/2014/main" id="{8FDBF3BC-C1C7-1461-7625-1F7A938877D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010" r="15194"/>
          <a:stretch/>
        </p:blipFill>
        <p:spPr>
          <a:xfrm rot="16200000">
            <a:off x="3827907" y="-170307"/>
            <a:ext cx="5143500" cy="5484114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2E09F1A3-B619-ED7C-D699-095BEC8D142D}"/>
              </a:ext>
            </a:extLst>
          </p:cNvPr>
          <p:cNvSpPr/>
          <p:nvPr/>
        </p:nvSpPr>
        <p:spPr>
          <a:xfrm>
            <a:off x="-3008" y="0"/>
            <a:ext cx="3660608" cy="5143500"/>
          </a:xfrm>
          <a:prstGeom prst="rect">
            <a:avLst/>
          </a:prstGeom>
          <a:gradFill flip="none" rotWithShape="1">
            <a:gsLst>
              <a:gs pos="50000">
                <a:schemeClr val="accent4"/>
              </a:gs>
              <a:gs pos="0">
                <a:schemeClr val="accent3"/>
              </a:gs>
              <a:gs pos="99000">
                <a:srgbClr val="00133B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6" name="think-cell data - do not delete" hidden="1">
            <a:extLst>
              <a:ext uri="{FF2B5EF4-FFF2-40B4-BE49-F238E27FC236}">
                <a16:creationId xmlns:a16="http://schemas.microsoft.com/office/drawing/2014/main" id="{52894AF3-1595-D857-3C29-EA7C580261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894AF3-1595-D857-3C29-EA7C580261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1AF75932-4370-22BD-F438-41A917C35B33}"/>
              </a:ext>
            </a:extLst>
          </p:cNvPr>
          <p:cNvSpPr txBox="1">
            <a:spLocks/>
          </p:cNvSpPr>
          <p:nvPr/>
        </p:nvSpPr>
        <p:spPr bwMode="gray">
          <a:xfrm>
            <a:off x="4530805" y="869046"/>
            <a:ext cx="4365546" cy="105114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R="0" lvl="0" indent="0" defTabSz="1219170" fontAlgn="auto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sz="1600" b="0" i="0">
                <a:latin typeface="Aptos" panose="020B0004020202020204" pitchFamily="34" charset="0"/>
              </a:defRPr>
            </a:lvl1pPr>
            <a:lvl2pPr marL="232828" marR="0" lvl="1" indent="-218012" defTabSz="1219170" fontAlgn="auto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4BCD3E"/>
              </a:buClr>
              <a:buSzTx/>
              <a:buFont typeface="Arial" panose="020B0604020202020204" pitchFamily="34" charset="0"/>
              <a:buChar char="•"/>
              <a:tabLst/>
              <a:defRPr sz="1467" b="0" i="0">
                <a:latin typeface="Aptos" panose="020B0004020202020204" pitchFamily="34" charset="0"/>
              </a:defRPr>
            </a:lvl2pPr>
            <a:lvl3pPr marL="467772" marR="0" lvl="2" indent="-218012" defTabSz="1219170" fontAlgn="auto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Tx/>
              <a:buSzPct val="80000"/>
              <a:buFont typeface="System Font Regular"/>
              <a:buChar char="−"/>
              <a:tabLst/>
              <a:defRPr sz="1400" b="0" i="0">
                <a:latin typeface="Aptos" panose="020B0004020202020204" pitchFamily="34" charset="0"/>
              </a:defRPr>
            </a:lvl3pPr>
            <a:lvl4pPr marL="836063" marR="0" indent="-239178" defTabSz="1219170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Lucida Grande"/>
              <a:buChar char="–"/>
              <a:tabLst/>
              <a:defRPr sz="1333"/>
            </a:lvl4pPr>
            <a:lvl5pPr marL="1075240" marR="0" indent="-239178" defTabSz="1219170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•"/>
              <a:tabLst/>
              <a:defRPr sz="1333"/>
            </a:lvl5pPr>
            <a:lvl6pPr marL="479988" indent="-239994" defTabSz="609585">
              <a:lnSpc>
                <a:spcPct val="110000"/>
              </a:lnSpc>
              <a:spcBef>
                <a:spcPts val="0"/>
              </a:spcBef>
              <a:buFont typeface="Arial"/>
              <a:buChar char="•"/>
              <a:defRPr sz="1867"/>
            </a:lvl6pPr>
            <a:lvl7pPr marL="0" indent="0" defTabSz="609585">
              <a:lnSpc>
                <a:spcPct val="120000"/>
              </a:lnSpc>
              <a:spcBef>
                <a:spcPts val="0"/>
              </a:spcBef>
              <a:buFont typeface="Arial"/>
              <a:buNone/>
              <a:defRPr sz="1867"/>
            </a:lvl7pPr>
            <a:lvl8pPr marL="4571886" indent="-304792" defTabSz="609585">
              <a:spcBef>
                <a:spcPct val="20000"/>
              </a:spcBef>
              <a:buFont typeface="Arial"/>
              <a:buChar char="•"/>
              <a:defRPr sz="2667"/>
            </a:lvl8pPr>
            <a:lvl9pPr marL="0" indent="0" defTabSz="609585">
              <a:lnSpc>
                <a:spcPct val="120000"/>
              </a:lnSpc>
              <a:spcBef>
                <a:spcPts val="0"/>
              </a:spcBef>
              <a:buFont typeface="Arial"/>
              <a:buNone/>
              <a:defRPr sz="1867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8051D354-0B35-797F-EC41-002BC55545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5142309" cy="3655219"/>
          </a:xfrm>
        </p:spPr>
        <p:txBody>
          <a:bodyPr anchor="ctr">
            <a:normAutofit/>
          </a:bodyPr>
          <a:lstStyle/>
          <a:p>
            <a:pPr lvl="1" indent="-174621" defTabSz="685800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</a:pPr>
            <a:r>
              <a:rPr lang="en-US" sz="1875">
                <a:latin typeface="+mj-lt"/>
                <a:cs typeface="Arial" panose="020B0604020202020204" pitchFamily="34" charset="0"/>
              </a:rPr>
              <a:t>Best-of-breed </a:t>
            </a:r>
            <a:r>
              <a:rPr lang="en-US" sz="1875">
                <a:cs typeface="Arial" panose="020B0604020202020204" pitchFamily="34" charset="0"/>
              </a:rPr>
              <a:t>financial products for FIs, corporates, </a:t>
            </a:r>
            <a:r>
              <a:rPr lang="en-US" sz="1875" err="1">
                <a:cs typeface="Arial" panose="020B0604020202020204" pitchFamily="34" charset="0"/>
              </a:rPr>
              <a:t>Fintechs</a:t>
            </a:r>
            <a:r>
              <a:rPr lang="en-US" sz="1875">
                <a:cs typeface="Arial" panose="020B0604020202020204" pitchFamily="34" charset="0"/>
              </a:rPr>
              <a:t>, and developers</a:t>
            </a:r>
          </a:p>
          <a:p>
            <a:pPr lvl="1" indent="-174621" defTabSz="685800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</a:pPr>
            <a:endParaRPr lang="en-US" sz="1875">
              <a:cs typeface="Arial" panose="020B0604020202020204" pitchFamily="34" charset="0"/>
            </a:endParaRPr>
          </a:p>
          <a:p>
            <a:pPr lvl="1" indent="-174621" defTabSz="685800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875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Flexible, consumable </a:t>
            </a:r>
            <a:r>
              <a:rPr lang="en-US" sz="1875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</a:rPr>
              <a:t>products that </a:t>
            </a:r>
            <a:br>
              <a:rPr lang="en-US" sz="1875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lang="en-US" sz="1875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</a:rPr>
              <a:t>cut across verticals and geographies</a:t>
            </a:r>
          </a:p>
          <a:p>
            <a:pPr lvl="1" indent="-174621" defTabSz="685800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defRPr/>
            </a:pPr>
            <a:endParaRPr lang="en-US" sz="1875">
              <a:solidFill>
                <a:srgbClr val="000000"/>
              </a:solidFill>
              <a:latin typeface="Arial" panose="020B0604020202020204"/>
              <a:cs typeface="Arial" panose="020B0604020202020204" pitchFamily="34" charset="0"/>
            </a:endParaRPr>
          </a:p>
          <a:p>
            <a:pPr lvl="1" indent="-174621" defTabSz="685800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875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Always</a:t>
            </a:r>
            <a:r>
              <a:rPr lang="en-US" sz="1875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</a:rPr>
              <a:t> resilient, always secure, always on</a:t>
            </a:r>
            <a:endParaRPr lang="en-US" sz="1875">
              <a:cs typeface="Arial" panose="020B0604020202020204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C58EAA2-246A-D5EA-B8EF-AAA4B5F526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678430"/>
            <a:ext cx="2949178" cy="1824038"/>
          </a:xfrm>
        </p:spPr>
        <p:txBody>
          <a:bodyPr>
            <a:normAutofit/>
          </a:bodyPr>
          <a:lstStyle/>
          <a:p>
            <a:r>
              <a:rPr lang="en-US" sz="2100">
                <a:solidFill>
                  <a:srgbClr val="92D050"/>
                </a:solidFill>
              </a:rPr>
              <a:t>Unlocking financial technology to the world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200CA44-190B-5F42-3710-E5B705A41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1371600"/>
            <a:ext cx="2949178" cy="1200150"/>
          </a:xfrm>
        </p:spPr>
        <p:txBody>
          <a:bodyPr>
            <a:normAutofit fontScale="90000"/>
          </a:bodyPr>
          <a:lstStyle/>
          <a:p>
            <a:r>
              <a:rPr lang="en-US" sz="5400">
                <a:solidFill>
                  <a:schemeClr val="bg1"/>
                </a:solidFill>
              </a:rPr>
              <a:t>Our </a:t>
            </a:r>
            <a:br>
              <a:rPr lang="en-US" sz="5400">
                <a:solidFill>
                  <a:schemeClr val="bg1"/>
                </a:solidFill>
              </a:rPr>
            </a:br>
            <a:r>
              <a:rPr lang="en-US" sz="5400">
                <a:solidFill>
                  <a:schemeClr val="bg1"/>
                </a:solidFill>
              </a:rPr>
              <a:t>Vision</a:t>
            </a:r>
            <a:endParaRPr lang="en-US" sz="5400">
              <a:solidFill>
                <a:schemeClr val="tx2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7459D94-2F7C-7A4D-04F9-B8BC2449D9E4}"/>
              </a:ext>
            </a:extLst>
          </p:cNvPr>
          <p:cNvSpPr/>
          <p:nvPr/>
        </p:nvSpPr>
        <p:spPr>
          <a:xfrm>
            <a:off x="2971800" y="2276856"/>
            <a:ext cx="123444" cy="123444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3498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71DA2F-10C9-D4CF-7724-EB332E0152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65435E60-D0A3-5150-A650-95D4A948E197}"/>
              </a:ext>
            </a:extLst>
          </p:cNvPr>
          <p:cNvSpPr/>
          <p:nvPr/>
        </p:nvSpPr>
        <p:spPr>
          <a:xfrm>
            <a:off x="1" y="1626744"/>
            <a:ext cx="9144000" cy="2057400"/>
          </a:xfrm>
          <a:prstGeom prst="rect">
            <a:avLst/>
          </a:prstGeom>
          <a:gradFill flip="none" rotWithShape="1">
            <a:gsLst>
              <a:gs pos="50000">
                <a:schemeClr val="accent4"/>
              </a:gs>
              <a:gs pos="0">
                <a:schemeClr val="accent3"/>
              </a:gs>
              <a:gs pos="99000">
                <a:srgbClr val="00133B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49666F1-D157-EEF0-6439-2CD7AC01C1FD}"/>
              </a:ext>
            </a:extLst>
          </p:cNvPr>
          <p:cNvSpPr txBox="1"/>
          <p:nvPr/>
        </p:nvSpPr>
        <p:spPr>
          <a:xfrm>
            <a:off x="872995" y="1863596"/>
            <a:ext cx="1946687" cy="630942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2200" b="1">
                <a:gradFill>
                  <a:gsLst>
                    <a:gs pos="0">
                      <a:srgbClr val="50FF48"/>
                    </a:gs>
                    <a:gs pos="100000">
                      <a:srgbClr val="285BC5"/>
                    </a:gs>
                  </a:gsLst>
                  <a:lin ang="0" scaled="0"/>
                </a:gra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viding clients the system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</a:rPr>
              <a:t>Economies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</a:rPr>
              <a:t>Rely 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6386011-6348-7003-A350-D49BD98D245B}"/>
              </a:ext>
            </a:extLst>
          </p:cNvPr>
          <p:cNvSpPr txBox="1"/>
          <p:nvPr/>
        </p:nvSpPr>
        <p:spPr>
          <a:xfrm>
            <a:off x="845948" y="2447036"/>
            <a:ext cx="1848583" cy="78483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582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50" b="0" i="0" u="none" strike="noStrike" kern="1200" cap="none" spc="-225" normalizeH="0" baseline="30000" noProof="0" dirty="0">
                <a:ln>
                  <a:noFill/>
                </a:ln>
                <a:solidFill>
                  <a:srgbClr val="4BCD3E"/>
                </a:solidFill>
                <a:effectLst/>
                <a:uLnTx/>
                <a:uFillTx/>
                <a:latin typeface="Arial Black" panose="020B0A04020102020204"/>
                <a:ea typeface="+mn-ea"/>
                <a:cs typeface="Arial Black" panose="020B0604020202020204" pitchFamily="34" charset="0"/>
              </a:rPr>
              <a:t>$</a:t>
            </a:r>
            <a:r>
              <a:rPr lang="en-US" sz="4500" b="1" spc="-225" dirty="0">
                <a:solidFill>
                  <a:srgbClr val="4BCD3E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10</a:t>
            </a:r>
            <a:r>
              <a:rPr kumimoji="0" lang="en-US" sz="4500" b="1" i="0" u="none" strike="noStrike" kern="1200" cap="none" spc="-225" normalizeH="0" baseline="0" noProof="0" dirty="0">
                <a:ln>
                  <a:noFill/>
                </a:ln>
                <a:solidFill>
                  <a:srgbClr val="4BCD3E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T+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83BF27-3482-0FBA-7A2F-B6873CB6C353}"/>
              </a:ext>
            </a:extLst>
          </p:cNvPr>
          <p:cNvSpPr txBox="1"/>
          <p:nvPr/>
        </p:nvSpPr>
        <p:spPr>
          <a:xfrm>
            <a:off x="652952" y="3086100"/>
            <a:ext cx="2234575" cy="3462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582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ancial Assets </a:t>
            </a:r>
          </a:p>
          <a:p>
            <a:pPr marL="0" marR="0" lvl="0" indent="0" algn="ctr" defTabSz="582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 Platforms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A954F50-1785-7641-C7A3-EC504569861B}"/>
              </a:ext>
            </a:extLst>
          </p:cNvPr>
          <p:cNvSpPr txBox="1"/>
          <p:nvPr/>
        </p:nvSpPr>
        <p:spPr>
          <a:xfrm>
            <a:off x="3778353" y="1846063"/>
            <a:ext cx="1436292" cy="630942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2200" b="1">
                <a:gradFill>
                  <a:gsLst>
                    <a:gs pos="0">
                      <a:srgbClr val="50FF48"/>
                    </a:gs>
                    <a:gs pos="100000">
                      <a:srgbClr val="285BC5"/>
                    </a:gs>
                  </a:gsLst>
                  <a:lin ang="0" scaled="0"/>
                </a:gra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wering the software thei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</a:rPr>
              <a:t>Businesses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</a:rPr>
              <a:t>Run 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04FCF56-61E8-4137-7411-65DA98C06AEA}"/>
              </a:ext>
            </a:extLst>
          </p:cNvPr>
          <p:cNvSpPr txBox="1"/>
          <p:nvPr/>
        </p:nvSpPr>
        <p:spPr>
          <a:xfrm>
            <a:off x="3884794" y="2464569"/>
            <a:ext cx="1223412" cy="78483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582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0" b="0" i="0" u="none" strike="noStrike" kern="1200" cap="none" spc="-225" normalizeH="0" baseline="0" noProof="0" dirty="0">
                <a:ln>
                  <a:noFill/>
                </a:ln>
                <a:solidFill>
                  <a:srgbClr val="4BCD3E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99</a:t>
            </a:r>
            <a:r>
              <a:rPr kumimoji="0" lang="en-US" sz="4050" b="0" i="0" u="none" strike="noStrike" kern="1200" cap="none" spc="-225" normalizeH="0" baseline="30000" noProof="0" dirty="0">
                <a:ln>
                  <a:noFill/>
                </a:ln>
                <a:solidFill>
                  <a:srgbClr val="4BCD3E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%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DA2BD34-6B09-473B-441E-8396AE8A80A0}"/>
              </a:ext>
            </a:extLst>
          </p:cNvPr>
          <p:cNvSpPr txBox="1"/>
          <p:nvPr/>
        </p:nvSpPr>
        <p:spPr>
          <a:xfrm>
            <a:off x="3433509" y="3103633"/>
            <a:ext cx="2125980" cy="3462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582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 the World’s Leading Banks</a:t>
            </a:r>
            <a:br>
              <a:rPr kumimoji="0" lang="en-US" sz="82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82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se our technology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4D8EAED-4E2A-ED92-9D00-68391B33A92D}"/>
              </a:ext>
            </a:extLst>
          </p:cNvPr>
          <p:cNvSpPr txBox="1"/>
          <p:nvPr/>
        </p:nvSpPr>
        <p:spPr>
          <a:xfrm>
            <a:off x="6486208" y="1851421"/>
            <a:ext cx="1340432" cy="630942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2200" b="1">
                <a:gradFill>
                  <a:gsLst>
                    <a:gs pos="0">
                      <a:srgbClr val="50FF48"/>
                    </a:gs>
                    <a:gs pos="100000">
                      <a:srgbClr val="285BC5"/>
                    </a:gs>
                  </a:gsLst>
                  <a:lin ang="0" scaled="0"/>
                </a:gra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d the platform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</a:rPr>
              <a:t>Innovators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</a:rPr>
              <a:t>Build on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5CA6B7D-BE17-4754-2358-77E2FCA7874F}"/>
              </a:ext>
            </a:extLst>
          </p:cNvPr>
          <p:cNvSpPr txBox="1"/>
          <p:nvPr/>
        </p:nvSpPr>
        <p:spPr>
          <a:xfrm>
            <a:off x="6544717" y="2459212"/>
            <a:ext cx="1223412" cy="78483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 algn="ctr" defTabSz="777202">
              <a:defRPr sz="7200" b="1">
                <a:gradFill flip="none" rotWithShape="1">
                  <a:gsLst>
                    <a:gs pos="11000">
                      <a:srgbClr val="0D9480"/>
                    </a:gs>
                    <a:gs pos="99000">
                      <a:schemeClr val="accent4"/>
                    </a:gs>
                  </a:gsLst>
                  <a:lin ang="0" scaled="1"/>
                  <a:tileRect/>
                </a:gra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marL="0" marR="0" lvl="0" indent="0" algn="ctr" defTabSz="582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500" spc="-225" dirty="0">
                <a:solidFill>
                  <a:srgbClr val="4BCD3E"/>
                </a:solidFill>
                <a:latin typeface="Arial Black" panose="020B0A04020102020204"/>
              </a:rPr>
              <a:t>20</a:t>
            </a:r>
            <a:r>
              <a:rPr kumimoji="0" lang="en-US" sz="4050" b="1" i="0" u="none" strike="noStrike" kern="1200" cap="none" spc="-225" normalizeH="0" baseline="30000" noProof="0" dirty="0">
                <a:ln>
                  <a:noFill/>
                </a:ln>
                <a:solidFill>
                  <a:srgbClr val="4BCD3E"/>
                </a:solidFill>
                <a:effectLst/>
                <a:uLnTx/>
                <a:uFillTx/>
                <a:latin typeface="Arial Black" panose="020B0A04020102020204"/>
                <a:ea typeface="+mn-ea"/>
              </a:rPr>
              <a:t>%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8BD2829-C137-D225-1EEA-C1001D76786E}"/>
              </a:ext>
            </a:extLst>
          </p:cNvPr>
          <p:cNvSpPr txBox="1"/>
          <p:nvPr/>
        </p:nvSpPr>
        <p:spPr>
          <a:xfrm>
            <a:off x="6093431" y="3098276"/>
            <a:ext cx="2125980" cy="3462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582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 the world’s most innovative companies are clients or partners</a:t>
            </a:r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6346ABD-8E01-8A7B-048C-EEC3F54FA0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346ABD-8E01-8A7B-048C-EEC3F54FA0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2189627A-40DE-87FE-9EE7-354F60F92A3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lum bright="-100000" contras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44464" y="628650"/>
            <a:ext cx="663459" cy="361887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E39F8B5D-0420-511C-8265-09A66501FA8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lum bright="-100000" contras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459502" y="1187153"/>
            <a:ext cx="950277" cy="139881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F8E79929-833B-6252-6E27-E2727A59E7BB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72766" y="761886"/>
            <a:ext cx="954169" cy="95417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9350D53A-9E7F-7C62-9386-422F608E5F81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lum bright="-100000" contras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491776" y="718154"/>
            <a:ext cx="285750" cy="182880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958C8641-BF16-3C90-124D-53417A542664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lum bright="-100000" contras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74068" y="687742"/>
            <a:ext cx="731111" cy="243704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43410471-8DA4-7774-584E-5201A453CCA1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lum bright="-100000" contras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070021" y="718154"/>
            <a:ext cx="510988" cy="18288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ABF42B3F-892C-8D81-9DB5-BA117BE31775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lum bright="-100000" contras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91415" y="1188513"/>
            <a:ext cx="467592" cy="13716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18294716-6146-8647-971C-BDE5FC037196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lum bright="-100000" contras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042368" y="773175"/>
            <a:ext cx="1213984" cy="72839"/>
          </a:xfrm>
          <a:prstGeom prst="rect">
            <a:avLst/>
          </a:prstGeom>
        </p:spPr>
      </p:pic>
      <p:pic>
        <p:nvPicPr>
          <p:cNvPr id="1036" name="Graphic 1035">
            <a:extLst>
              <a:ext uri="{FF2B5EF4-FFF2-40B4-BE49-F238E27FC236}">
                <a16:creationId xmlns:a16="http://schemas.microsoft.com/office/drawing/2014/main" id="{2046461C-C633-146C-2A77-E66CE0930138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lum bright="-100000" contras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317228" y="1155666"/>
            <a:ext cx="882179" cy="202854"/>
          </a:xfrm>
          <a:prstGeom prst="rect">
            <a:avLst/>
          </a:prstGeom>
        </p:spPr>
      </p:pic>
      <p:pic>
        <p:nvPicPr>
          <p:cNvPr id="1060" name="Graphic 1059">
            <a:extLst>
              <a:ext uri="{FF2B5EF4-FFF2-40B4-BE49-F238E27FC236}">
                <a16:creationId xmlns:a16="http://schemas.microsoft.com/office/drawing/2014/main" id="{E1AC4903-8241-8129-5C5F-0E677D2E71A9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lum bright="-100000" contras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867999" y="1134993"/>
            <a:ext cx="476954" cy="244200"/>
          </a:xfrm>
          <a:prstGeom prst="rect">
            <a:avLst/>
          </a:prstGeom>
        </p:spPr>
      </p:pic>
      <p:pic>
        <p:nvPicPr>
          <p:cNvPr id="1062" name="Graphic 1061">
            <a:extLst>
              <a:ext uri="{FF2B5EF4-FFF2-40B4-BE49-F238E27FC236}">
                <a16:creationId xmlns:a16="http://schemas.microsoft.com/office/drawing/2014/main" id="{CCA3A856-75DB-89D8-76AA-BDF88A33270D}"/>
              </a:ext>
            </a:extLst>
          </p:cNvPr>
          <p:cNvPicPr>
            <a:picLocks noChangeAspect="1"/>
          </p:cNvPicPr>
          <p:nvPr/>
        </p:nvPicPr>
        <p:blipFill>
          <a:blip r:embed="rId26">
            <a:lum bright="-100000" contras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803172" y="1105680"/>
            <a:ext cx="870630" cy="302828"/>
          </a:xfrm>
          <a:prstGeom prst="rect">
            <a:avLst/>
          </a:prstGeom>
        </p:spPr>
      </p:pic>
      <p:pic>
        <p:nvPicPr>
          <p:cNvPr id="1065" name="Picture 1064">
            <a:extLst>
              <a:ext uri="{FF2B5EF4-FFF2-40B4-BE49-F238E27FC236}">
                <a16:creationId xmlns:a16="http://schemas.microsoft.com/office/drawing/2014/main" id="{0AF903FB-87B3-A4E1-9088-B45515E616CD}"/>
              </a:ext>
            </a:extLst>
          </p:cNvPr>
          <p:cNvPicPr>
            <a:picLocks noChangeAspect="1"/>
          </p:cNvPicPr>
          <p:nvPr/>
        </p:nvPicPr>
        <p:blipFill rotWithShape="1">
          <a:blip r:embed="rId28" cstate="screen">
            <a:extLst>
              <a:ext uri="{BEBA8EAE-BF5A-486C-A8C5-ECC9F3942E4B}">
                <a14:imgProps xmlns:a14="http://schemas.microsoft.com/office/drawing/2010/main">
                  <a14:imgLayer r:embed="rId29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023" y="1135241"/>
            <a:ext cx="684580" cy="243705"/>
          </a:xfrm>
          <a:prstGeom prst="rect">
            <a:avLst/>
          </a:prstGeom>
        </p:spPr>
      </p:pic>
      <p:sp>
        <p:nvSpPr>
          <p:cNvPr id="1077" name="Freeform 1076">
            <a:extLst>
              <a:ext uri="{FF2B5EF4-FFF2-40B4-BE49-F238E27FC236}">
                <a16:creationId xmlns:a16="http://schemas.microsoft.com/office/drawing/2014/main" id="{875BD548-BD01-03C8-C55A-9880097376EC}"/>
              </a:ext>
            </a:extLst>
          </p:cNvPr>
          <p:cNvSpPr/>
          <p:nvPr/>
        </p:nvSpPr>
        <p:spPr>
          <a:xfrm>
            <a:off x="2657627" y="1103711"/>
            <a:ext cx="343655" cy="306766"/>
          </a:xfrm>
          <a:custGeom>
            <a:avLst/>
            <a:gdLst>
              <a:gd name="connsiteX0" fmla="*/ 401270 w 3809999"/>
              <a:gd name="connsiteY0" fmla="*/ 683290 h 3401018"/>
              <a:gd name="connsiteX1" fmla="*/ 401270 w 3809999"/>
              <a:gd name="connsiteY1" fmla="*/ 966582 h 3401018"/>
              <a:gd name="connsiteX2" fmla="*/ 1048984 w 3809999"/>
              <a:gd name="connsiteY2" fmla="*/ 966582 h 3401018"/>
              <a:gd name="connsiteX3" fmla="*/ 1048984 w 3809999"/>
              <a:gd name="connsiteY3" fmla="*/ 2665013 h 3401018"/>
              <a:gd name="connsiteX4" fmla="*/ 1490364 w 3809999"/>
              <a:gd name="connsiteY4" fmla="*/ 2665013 h 3401018"/>
              <a:gd name="connsiteX5" fmla="*/ 1490364 w 3809999"/>
              <a:gd name="connsiteY5" fmla="*/ 966582 h 3401018"/>
              <a:gd name="connsiteX6" fmla="*/ 2468088 w 3809999"/>
              <a:gd name="connsiteY6" fmla="*/ 966582 h 3401018"/>
              <a:gd name="connsiteX7" fmla="*/ 2909720 w 3809999"/>
              <a:gd name="connsiteY7" fmla="*/ 1650753 h 3401018"/>
              <a:gd name="connsiteX8" fmla="*/ 2489478 w 3809999"/>
              <a:gd name="connsiteY8" fmla="*/ 2382350 h 3401018"/>
              <a:gd name="connsiteX9" fmla="*/ 2060782 w 3809999"/>
              <a:gd name="connsiteY9" fmla="*/ 2382350 h 3401018"/>
              <a:gd name="connsiteX10" fmla="*/ 2060782 w 3809999"/>
              <a:gd name="connsiteY10" fmla="*/ 1069305 h 3401018"/>
              <a:gd name="connsiteX11" fmla="*/ 1615048 w 3809999"/>
              <a:gd name="connsiteY11" fmla="*/ 1069305 h 3401018"/>
              <a:gd name="connsiteX12" fmla="*/ 1615048 w 3809999"/>
              <a:gd name="connsiteY12" fmla="*/ 2665013 h 3401018"/>
              <a:gd name="connsiteX13" fmla="*/ 2502477 w 3809999"/>
              <a:gd name="connsiteY13" fmla="*/ 2665013 h 3401018"/>
              <a:gd name="connsiteX14" fmla="*/ 3389843 w 3809999"/>
              <a:gd name="connsiteY14" fmla="*/ 1646534 h 3401018"/>
              <a:gd name="connsiteX15" fmla="*/ 2605581 w 3809999"/>
              <a:gd name="connsiteY15" fmla="*/ 683290 h 3401018"/>
              <a:gd name="connsiteX16" fmla="*/ 0 w 3809999"/>
              <a:gd name="connsiteY16" fmla="*/ 0 h 3401018"/>
              <a:gd name="connsiteX17" fmla="*/ 3809999 w 3809999"/>
              <a:gd name="connsiteY17" fmla="*/ 0 h 3401018"/>
              <a:gd name="connsiteX18" fmla="*/ 3809999 w 3809999"/>
              <a:gd name="connsiteY18" fmla="*/ 3401018 h 3401018"/>
              <a:gd name="connsiteX19" fmla="*/ 0 w 3809999"/>
              <a:gd name="connsiteY19" fmla="*/ 3401018 h 3401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809999" h="3401018">
                <a:moveTo>
                  <a:pt x="401270" y="683290"/>
                </a:moveTo>
                <a:lnTo>
                  <a:pt x="401270" y="966582"/>
                </a:lnTo>
                <a:lnTo>
                  <a:pt x="1048984" y="966582"/>
                </a:lnTo>
                <a:lnTo>
                  <a:pt x="1048984" y="2665013"/>
                </a:lnTo>
                <a:lnTo>
                  <a:pt x="1490364" y="2665013"/>
                </a:lnTo>
                <a:lnTo>
                  <a:pt x="1490364" y="966582"/>
                </a:lnTo>
                <a:lnTo>
                  <a:pt x="2468088" y="966582"/>
                </a:lnTo>
                <a:cubicBezTo>
                  <a:pt x="2768504" y="966582"/>
                  <a:pt x="2909720" y="1120635"/>
                  <a:pt x="2909720" y="1650753"/>
                </a:cubicBezTo>
                <a:cubicBezTo>
                  <a:pt x="2909720" y="2177722"/>
                  <a:pt x="2785414" y="2382350"/>
                  <a:pt x="2489478" y="2382350"/>
                </a:cubicBezTo>
                <a:lnTo>
                  <a:pt x="2060782" y="2382350"/>
                </a:lnTo>
                <a:lnTo>
                  <a:pt x="2060782" y="1069305"/>
                </a:lnTo>
                <a:lnTo>
                  <a:pt x="1615048" y="1069305"/>
                </a:lnTo>
                <a:lnTo>
                  <a:pt x="1615048" y="2665013"/>
                </a:lnTo>
                <a:lnTo>
                  <a:pt x="2502477" y="2665013"/>
                </a:lnTo>
                <a:cubicBezTo>
                  <a:pt x="3012698" y="2665013"/>
                  <a:pt x="3389843" y="2553787"/>
                  <a:pt x="3389843" y="1646534"/>
                </a:cubicBezTo>
                <a:cubicBezTo>
                  <a:pt x="3389843" y="957890"/>
                  <a:pt x="3137256" y="683290"/>
                  <a:pt x="2605581" y="683290"/>
                </a:cubicBezTo>
                <a:close/>
                <a:moveTo>
                  <a:pt x="0" y="0"/>
                </a:moveTo>
                <a:lnTo>
                  <a:pt x="3809999" y="0"/>
                </a:lnTo>
                <a:lnTo>
                  <a:pt x="3809999" y="3401018"/>
                </a:lnTo>
                <a:lnTo>
                  <a:pt x="0" y="3401018"/>
                </a:lnTo>
                <a:close/>
              </a:path>
            </a:pathLst>
          </a:custGeom>
          <a:solidFill>
            <a:schemeClr val="tx1"/>
          </a:solidFill>
          <a:ln w="6309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79" name="Graphic 1078">
            <a:extLst>
              <a:ext uri="{FF2B5EF4-FFF2-40B4-BE49-F238E27FC236}">
                <a16:creationId xmlns:a16="http://schemas.microsoft.com/office/drawing/2014/main" id="{3563A429-CFB7-6AE7-EC67-E7FDC96D0757}"/>
              </a:ext>
            </a:extLst>
          </p:cNvPr>
          <p:cNvPicPr>
            <a:picLocks noChangeAspect="1"/>
          </p:cNvPicPr>
          <p:nvPr/>
        </p:nvPicPr>
        <p:blipFill>
          <a:blip r:embed="rId30" cstate="screen">
            <a:lum bright="-100000" contras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8274822" y="1091332"/>
            <a:ext cx="328694" cy="331523"/>
          </a:xfrm>
          <a:prstGeom prst="rect">
            <a:avLst/>
          </a:prstGeom>
        </p:spPr>
      </p:pic>
      <p:pic>
        <p:nvPicPr>
          <p:cNvPr id="1081" name="Picture 1080">
            <a:extLst>
              <a:ext uri="{FF2B5EF4-FFF2-40B4-BE49-F238E27FC236}">
                <a16:creationId xmlns:a16="http://schemas.microsoft.com/office/drawing/2014/main" id="{814E3C65-7E60-9C8F-C7B4-3125FBE524E3}"/>
              </a:ext>
            </a:extLst>
          </p:cNvPr>
          <p:cNvPicPr>
            <a:picLocks noChangeAspect="1"/>
          </p:cNvPicPr>
          <p:nvPr/>
        </p:nvPicPr>
        <p:blipFill>
          <a:blip r:embed="rId32" cstate="screen">
            <a:extLst>
              <a:ext uri="{BEBA8EAE-BF5A-486C-A8C5-ECC9F3942E4B}">
                <a14:imgProps xmlns:a14="http://schemas.microsoft.com/office/drawing/2010/main">
                  <a14:imgLayer r:embed="rId33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1195" y="714185"/>
            <a:ext cx="1288031" cy="19081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EF8B1FD-E16A-9538-7AF6-486CA10FBF2F}"/>
              </a:ext>
            </a:extLst>
          </p:cNvPr>
          <p:cNvPicPr>
            <a:picLocks noChangeAspect="1"/>
          </p:cNvPicPr>
          <p:nvPr/>
        </p:nvPicPr>
        <p:blipFill>
          <a:blip r:embed="rId34" cstate="screen">
            <a:extLst>
              <a:ext uri="{BEBA8EAE-BF5A-486C-A8C5-ECC9F3942E4B}">
                <a14:imgProps xmlns:a14="http://schemas.microsoft.com/office/drawing/2010/main">
                  <a14:imgLayer r:embed="rId35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1784" y="4029075"/>
            <a:ext cx="808101" cy="3429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208A49CC-8E8A-8DB3-FE95-C88A1D050B09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BEBA8EAE-BF5A-486C-A8C5-ECC9F3942E4B}">
                <a14:imgProps xmlns:a14="http://schemas.microsoft.com/office/drawing/2010/main">
                  <a14:imgLayer r:embed="rId37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1600" y="4029075"/>
            <a:ext cx="669073" cy="3429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01E1732-BE31-9C45-3722-9591870C6145}"/>
              </a:ext>
            </a:extLst>
          </p:cNvPr>
          <p:cNvPicPr>
            <a:picLocks noChangeAspect="1"/>
          </p:cNvPicPr>
          <p:nvPr/>
        </p:nvPicPr>
        <p:blipFill>
          <a:blip r:embed="rId38" cstate="screen">
            <a:extLst>
              <a:ext uri="{BEBA8EAE-BF5A-486C-A8C5-ECC9F3942E4B}">
                <a14:imgProps xmlns:a14="http://schemas.microsoft.com/office/drawing/2010/main">
                  <a14:imgLayer r:embed="rId39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7550" y="3943350"/>
            <a:ext cx="438750" cy="51435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43032B03-190A-E1C7-A082-6D278945D68C}"/>
              </a:ext>
            </a:extLst>
          </p:cNvPr>
          <p:cNvPicPr>
            <a:picLocks noChangeAspect="1"/>
          </p:cNvPicPr>
          <p:nvPr/>
        </p:nvPicPr>
        <p:blipFill>
          <a:blip r:embed="rId40" cstate="screen">
            <a:extLst>
              <a:ext uri="{BEBA8EAE-BF5A-486C-A8C5-ECC9F3942E4B}">
                <a14:imgProps xmlns:a14="http://schemas.microsoft.com/office/drawing/2010/main">
                  <a14:imgLayer r:embed="rId41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51386" y="3943350"/>
            <a:ext cx="321469" cy="51435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ACC09A61-DC0E-C02E-51E8-B3F4BD97041C}"/>
              </a:ext>
            </a:extLst>
          </p:cNvPr>
          <p:cNvPicPr>
            <a:picLocks noChangeAspect="1"/>
          </p:cNvPicPr>
          <p:nvPr/>
        </p:nvPicPr>
        <p:blipFill>
          <a:blip r:embed="rId42" cstate="screen">
            <a:extLst>
              <a:ext uri="{BEBA8EAE-BF5A-486C-A8C5-ECC9F3942E4B}">
                <a14:imgProps xmlns:a14="http://schemas.microsoft.com/office/drawing/2010/main">
                  <a14:imgLayer r:embed="rId43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2309" y="4063365"/>
            <a:ext cx="992588" cy="27432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C5719E57-8EDC-A5B9-6DFC-2B2EE349D69C}"/>
              </a:ext>
            </a:extLst>
          </p:cNvPr>
          <p:cNvPicPr>
            <a:picLocks noChangeAspect="1"/>
          </p:cNvPicPr>
          <p:nvPr/>
        </p:nvPicPr>
        <p:blipFill>
          <a:blip r:embed="rId44" cstate="screen">
            <a:extLst>
              <a:ext uri="{BEBA8EAE-BF5A-486C-A8C5-ECC9F3942E4B}">
                <a14:imgProps xmlns:a14="http://schemas.microsoft.com/office/drawing/2010/main">
                  <a14:imgLayer r:embed="rId45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0751" y="3943350"/>
            <a:ext cx="443216" cy="51435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0CC986AD-D36A-0C24-7CD6-653655896B04}"/>
              </a:ext>
            </a:extLst>
          </p:cNvPr>
          <p:cNvPicPr>
            <a:picLocks noChangeAspect="1"/>
          </p:cNvPicPr>
          <p:nvPr/>
        </p:nvPicPr>
        <p:blipFill>
          <a:blip r:embed="rId46" cstate="screen">
            <a:extLst>
              <a:ext uri="{BEBA8EAE-BF5A-486C-A8C5-ECC9F3942E4B}">
                <a14:imgProps xmlns:a14="http://schemas.microsoft.com/office/drawing/2010/main">
                  <a14:imgLayer r:embed="rId47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0300" y="3994785"/>
            <a:ext cx="515862" cy="41148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4A02F6C-41FC-CFFE-1E66-2F02DF023CFC}"/>
              </a:ext>
            </a:extLst>
          </p:cNvPr>
          <p:cNvPicPr>
            <a:picLocks noChangeAspect="1"/>
          </p:cNvPicPr>
          <p:nvPr/>
        </p:nvPicPr>
        <p:blipFill>
          <a:blip r:embed="rId48" cstate="screen">
            <a:extLst>
              <a:ext uri="{BEBA8EAE-BF5A-486C-A8C5-ECC9F3942E4B}">
                <a14:imgProps xmlns:a14="http://schemas.microsoft.com/office/drawing/2010/main">
                  <a14:imgLayer r:embed="rId49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3700" y="4029075"/>
            <a:ext cx="550476" cy="34290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216C1421-D3E9-0DB7-AB5A-67A5DEC5FAC0}"/>
              </a:ext>
            </a:extLst>
          </p:cNvPr>
          <p:cNvPicPr>
            <a:picLocks noChangeAspect="1"/>
          </p:cNvPicPr>
          <p:nvPr/>
        </p:nvPicPr>
        <p:blipFill>
          <a:blip r:embed="rId50" cstate="screen">
            <a:extLst>
              <a:ext uri="{BEBA8EAE-BF5A-486C-A8C5-ECC9F3942E4B}">
                <a14:imgProps xmlns:a14="http://schemas.microsoft.com/office/drawing/2010/main">
                  <a14:imgLayer r:embed="rId51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2070" y="3943350"/>
            <a:ext cx="336374" cy="51435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0EEFCAE-C206-DFB9-ED56-EB3855A608AE}"/>
              </a:ext>
            </a:extLst>
          </p:cNvPr>
          <p:cNvPicPr>
            <a:picLocks noChangeAspect="1"/>
          </p:cNvPicPr>
          <p:nvPr/>
        </p:nvPicPr>
        <p:blipFill>
          <a:blip r:embed="rId52" cstate="screen">
            <a:extLst>
              <a:ext uri="{BEBA8EAE-BF5A-486C-A8C5-ECC9F3942E4B}">
                <a14:imgProps xmlns:a14="http://schemas.microsoft.com/office/drawing/2010/main">
                  <a14:imgLayer r:embed="rId53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8100" y="3994785"/>
            <a:ext cx="495663" cy="411480"/>
          </a:xfrm>
          <a:prstGeom prst="rect">
            <a:avLst/>
          </a:prstGeom>
        </p:spPr>
      </p:pic>
      <p:grpSp>
        <p:nvGrpSpPr>
          <p:cNvPr id="54" name="Group 53">
            <a:extLst>
              <a:ext uri="{FF2B5EF4-FFF2-40B4-BE49-F238E27FC236}">
                <a16:creationId xmlns:a16="http://schemas.microsoft.com/office/drawing/2014/main" id="{83DBE67F-97EE-1553-D899-69B29CB7AC03}"/>
              </a:ext>
            </a:extLst>
          </p:cNvPr>
          <p:cNvGrpSpPr/>
          <p:nvPr/>
        </p:nvGrpSpPr>
        <p:grpSpPr>
          <a:xfrm>
            <a:off x="3128193" y="1668782"/>
            <a:ext cx="2684679" cy="2057400"/>
            <a:chOff x="4170924" y="2109792"/>
            <a:chExt cx="3579572" cy="2743200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1D59595-64FA-22DF-2DA5-632D1D2D11FF}"/>
                </a:ext>
              </a:extLst>
            </p:cNvPr>
            <p:cNvCxnSpPr>
              <a:cxnSpLocks/>
            </p:cNvCxnSpPr>
            <p:nvPr/>
          </p:nvCxnSpPr>
          <p:spPr>
            <a:xfrm>
              <a:off x="7750496" y="2109792"/>
              <a:ext cx="0" cy="2743200"/>
            </a:xfrm>
            <a:prstGeom prst="line">
              <a:avLst/>
            </a:prstGeom>
            <a:ln w="6350">
              <a:gradFill>
                <a:gsLst>
                  <a:gs pos="49000">
                    <a:schemeClr val="bg1">
                      <a:alpha val="20000"/>
                    </a:schemeClr>
                  </a:gs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0"/>
                    </a:schemeClr>
                  </a:gs>
                </a:gsLst>
                <a:lin ang="5400000" scaled="1"/>
              </a:gra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E92FB146-2E31-0534-F033-C972BF0427C2}"/>
                </a:ext>
              </a:extLst>
            </p:cNvPr>
            <p:cNvCxnSpPr>
              <a:cxnSpLocks/>
            </p:cNvCxnSpPr>
            <p:nvPr/>
          </p:nvCxnSpPr>
          <p:spPr>
            <a:xfrm>
              <a:off x="4170924" y="2109792"/>
              <a:ext cx="0" cy="2743200"/>
            </a:xfrm>
            <a:prstGeom prst="line">
              <a:avLst/>
            </a:prstGeom>
            <a:ln w="6350">
              <a:gradFill>
                <a:gsLst>
                  <a:gs pos="49000">
                    <a:schemeClr val="bg1">
                      <a:alpha val="20000"/>
                    </a:schemeClr>
                  </a:gs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0"/>
                    </a:schemeClr>
                  </a:gs>
                </a:gsLst>
                <a:lin ang="5400000" scaled="1"/>
              </a:gra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Graphic 1">
            <a:extLst>
              <a:ext uri="{FF2B5EF4-FFF2-40B4-BE49-F238E27FC236}">
                <a16:creationId xmlns:a16="http://schemas.microsoft.com/office/drawing/2014/main" id="{E44E3A5A-A78E-038F-5C16-F82F6F24DA94}"/>
              </a:ext>
            </a:extLst>
          </p:cNvPr>
          <p:cNvPicPr>
            <a:picLocks noChangeAspect="1"/>
          </p:cNvPicPr>
          <p:nvPr/>
        </p:nvPicPr>
        <p:blipFill>
          <a:blip r:embed="rId54">
            <a:lum bright="-100000" contrast="100000"/>
            <a:extLs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391416" y="745075"/>
            <a:ext cx="688207" cy="129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332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8B884FD9-719E-2424-5876-D8C4D621F3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750" y="721029"/>
            <a:ext cx="8572500" cy="166199"/>
          </a:xfrm>
        </p:spPr>
        <p:txBody>
          <a:bodyPr/>
          <a:lstStyle/>
          <a:p>
            <a:r>
              <a:rPr lang="en-US"/>
              <a:t>We operate across the money lifecycle through three solution ecosystem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C0FE9B-6BAB-BDD9-AEE3-BF6E0DF31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229070"/>
            <a:ext cx="8572500" cy="454751"/>
          </a:xfrm>
        </p:spPr>
        <p:txBody>
          <a:bodyPr/>
          <a:lstStyle/>
          <a:p>
            <a:r>
              <a:rPr lang="en-US"/>
              <a:t>Capital Markets Solutions Across The Money Lifecyc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02409C1-2FAB-F192-49D1-E88B4D8EC3A6}"/>
              </a:ext>
            </a:extLst>
          </p:cNvPr>
          <p:cNvSpPr txBox="1"/>
          <p:nvPr/>
        </p:nvSpPr>
        <p:spPr>
          <a:xfrm>
            <a:off x="984626" y="1769809"/>
            <a:ext cx="1254343" cy="503112"/>
          </a:xfrm>
          <a:prstGeom prst="rect">
            <a:avLst/>
          </a:prstGeom>
          <a:noFill/>
        </p:spPr>
        <p:txBody>
          <a:bodyPr wrap="none" lIns="27000" tIns="27000" rIns="27000" bIns="2700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5BC5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Treasury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5BC5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5BC5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&amp; Risk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DFC19C1-754B-83C4-60AD-D4A890FA7F83}"/>
              </a:ext>
            </a:extLst>
          </p:cNvPr>
          <p:cNvSpPr txBox="1"/>
          <p:nvPr/>
        </p:nvSpPr>
        <p:spPr>
          <a:xfrm>
            <a:off x="7232226" y="1769809"/>
            <a:ext cx="1818408" cy="503112"/>
          </a:xfrm>
          <a:prstGeom prst="rect">
            <a:avLst/>
          </a:prstGeom>
          <a:noFill/>
        </p:spPr>
        <p:txBody>
          <a:bodyPr wrap="none" lIns="27000" tIns="27000" rIns="27000" bIns="2700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-75" normalizeH="0" baseline="0" noProof="0">
                <a:ln>
                  <a:noFill/>
                </a:ln>
                <a:solidFill>
                  <a:srgbClr val="4C12A1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Trading &amp;</a:t>
            </a:r>
          </a:p>
          <a:p>
            <a:pPr marL="0" marR="0" lvl="0" indent="0" algn="l" defTabSz="6858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-75" normalizeH="0" baseline="0" noProof="0">
                <a:ln>
                  <a:noFill/>
                </a:ln>
                <a:solidFill>
                  <a:srgbClr val="4C12A1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Asset Servic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C24659A-97A2-DC0B-D4B1-7FF0AC7B6752}"/>
              </a:ext>
            </a:extLst>
          </p:cNvPr>
          <p:cNvSpPr/>
          <p:nvPr/>
        </p:nvSpPr>
        <p:spPr>
          <a:xfrm>
            <a:off x="0" y="3943350"/>
            <a:ext cx="9144000" cy="342900"/>
          </a:xfrm>
          <a:prstGeom prst="rect">
            <a:avLst/>
          </a:prstGeom>
          <a:gradFill flip="none" rotWithShape="1">
            <a:gsLst>
              <a:gs pos="70000">
                <a:schemeClr val="accent4"/>
              </a:gs>
              <a:gs pos="0">
                <a:schemeClr val="accent3"/>
              </a:gs>
              <a:gs pos="100000">
                <a:schemeClr val="accent4">
                  <a:lumMod val="50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 w="12700" cap="flat" cmpd="sng" algn="ctr">
            <a:noFill/>
            <a:prstDash val="solid"/>
          </a:ln>
          <a:effectLst/>
        </p:spPr>
        <p:style>
          <a:lnRef idx="3">
            <a:scrgbClr r="0" g="0" b="0"/>
          </a:lnRef>
          <a:fillRef idx="1">
            <a:scrgbClr r="0" g="0" b="0"/>
          </a:fillRef>
          <a:effectRef idx="1">
            <a:scrgbClr r="0" g="0" b="0"/>
          </a:effectRef>
          <a:fontRef idx="minor">
            <a:schemeClr val="lt1"/>
          </a:fontRef>
        </p:style>
        <p:txBody>
          <a:bodyPr spcFirstLastPara="0" vert="horz" wrap="square" lIns="137160" tIns="0" rIns="137160" bIns="0" numCol="1" spcCol="1270" anchor="ctr" anchorCtr="0"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WE HAVE AN INDUSTRY-LEADING POSITION WITH A GLOBAL CLIENT BAS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0CC66F5-A25F-C43C-EBD7-A473CF594C23}"/>
              </a:ext>
            </a:extLst>
          </p:cNvPr>
          <p:cNvSpPr txBox="1"/>
          <p:nvPr/>
        </p:nvSpPr>
        <p:spPr>
          <a:xfrm>
            <a:off x="3080458" y="2807259"/>
            <a:ext cx="1021139" cy="747025"/>
          </a:xfrm>
          <a:prstGeom prst="rect">
            <a:avLst/>
          </a:prstGeom>
          <a:noFill/>
        </p:spPr>
        <p:txBody>
          <a:bodyPr wrap="none" lIns="27000" tIns="27000" rIns="27000" bIns="2700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spc="-113" dirty="0">
                <a:solidFill>
                  <a:srgbClr val="285BC5"/>
                </a:solidFill>
                <a:latin typeface="Arial Black" panose="020B0A04020102020204"/>
              </a:rPr>
              <a:t>9</a:t>
            </a:r>
            <a:r>
              <a:rPr kumimoji="0" lang="en-US" sz="2400" b="0" i="0" u="none" strike="noStrike" kern="1200" cap="none" spc="-113" normalizeH="0" baseline="0" noProof="0" dirty="0">
                <a:ln>
                  <a:noFill/>
                </a:ln>
                <a:solidFill>
                  <a:srgbClr val="285BC5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0</a:t>
            </a:r>
            <a:r>
              <a:rPr kumimoji="0" lang="en-US" sz="2100" b="0" i="0" u="none" strike="noStrike" kern="1200" cap="none" spc="0" normalizeH="0" baseline="30000" noProof="0" dirty="0">
                <a:ln>
                  <a:noFill/>
                </a:ln>
                <a:solidFill>
                  <a:srgbClr val="285BC5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%</a:t>
            </a:r>
            <a:endParaRPr kumimoji="0" lang="en-US" sz="2400" b="0" i="0" u="none" strike="noStrike" kern="1200" cap="none" spc="0" normalizeH="0" baseline="30000" noProof="0" dirty="0">
              <a:ln>
                <a:noFill/>
              </a:ln>
              <a:solidFill>
                <a:srgbClr val="285BC5"/>
              </a:solidFill>
              <a:effectLst/>
              <a:uLnTx/>
              <a:uFillTx/>
              <a:latin typeface="Arial Black" panose="020B0A04020102020204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p 100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surance Firm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7D2AA49-695D-5A33-56AF-040D1A52BA00}"/>
              </a:ext>
            </a:extLst>
          </p:cNvPr>
          <p:cNvCxnSpPr>
            <a:cxnSpLocks/>
          </p:cNvCxnSpPr>
          <p:nvPr/>
        </p:nvCxnSpPr>
        <p:spPr>
          <a:xfrm>
            <a:off x="3023309" y="2807259"/>
            <a:ext cx="0" cy="822960"/>
          </a:xfrm>
          <a:prstGeom prst="line">
            <a:avLst/>
          </a:prstGeom>
          <a:ln w="19050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C0A7D5E-9F07-00F5-CAA0-5C501BD99630}"/>
              </a:ext>
            </a:extLst>
          </p:cNvPr>
          <p:cNvCxnSpPr>
            <a:cxnSpLocks/>
          </p:cNvCxnSpPr>
          <p:nvPr/>
        </p:nvCxnSpPr>
        <p:spPr>
          <a:xfrm>
            <a:off x="920786" y="1714500"/>
            <a:ext cx="0" cy="548640"/>
          </a:xfrm>
          <a:prstGeom prst="line">
            <a:avLst/>
          </a:prstGeom>
          <a:ln w="19050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6F762B61-B06A-5BEE-0FC9-489D049B8101}"/>
              </a:ext>
            </a:extLst>
          </p:cNvPr>
          <p:cNvSpPr txBox="1"/>
          <p:nvPr/>
        </p:nvSpPr>
        <p:spPr>
          <a:xfrm>
            <a:off x="5060527" y="1769809"/>
            <a:ext cx="1475557" cy="503112"/>
          </a:xfrm>
          <a:prstGeom prst="rect">
            <a:avLst/>
          </a:prstGeom>
          <a:noFill/>
        </p:spPr>
        <p:txBody>
          <a:bodyPr wrap="none" lIns="27000" tIns="27000" rIns="27000" bIns="2700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-75" normalizeH="0" baseline="0" noProof="0">
                <a:ln>
                  <a:noFill/>
                </a:ln>
                <a:solidFill>
                  <a:srgbClr val="4C12A1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Commercial</a:t>
            </a:r>
            <a:br>
              <a:rPr kumimoji="0" lang="en-US" sz="1800" b="0" i="0" u="none" strike="noStrike" kern="1200" cap="none" spc="-75" normalizeH="0" baseline="0" noProof="0">
                <a:ln>
                  <a:noFill/>
                </a:ln>
                <a:solidFill>
                  <a:srgbClr val="4C12A1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</a:br>
            <a:r>
              <a:rPr kumimoji="0" lang="en-US" sz="1800" b="0" i="0" u="none" strike="noStrike" kern="1200" cap="none" spc="-75" normalizeH="0" baseline="0" noProof="0">
                <a:ln>
                  <a:noFill/>
                </a:ln>
                <a:solidFill>
                  <a:srgbClr val="4C12A1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Lending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82E6FE6-3337-F5E1-8DAD-8FA0CE21CCDA}"/>
              </a:ext>
            </a:extLst>
          </p:cNvPr>
          <p:cNvCxnSpPr>
            <a:cxnSpLocks/>
          </p:cNvCxnSpPr>
          <p:nvPr/>
        </p:nvCxnSpPr>
        <p:spPr>
          <a:xfrm>
            <a:off x="4994471" y="1714500"/>
            <a:ext cx="0" cy="548640"/>
          </a:xfrm>
          <a:prstGeom prst="line">
            <a:avLst/>
          </a:prstGeom>
          <a:ln w="1905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13DCEFF-216C-28C8-5C2D-121EA63583BB}"/>
              </a:ext>
            </a:extLst>
          </p:cNvPr>
          <p:cNvCxnSpPr>
            <a:cxnSpLocks/>
          </p:cNvCxnSpPr>
          <p:nvPr/>
        </p:nvCxnSpPr>
        <p:spPr>
          <a:xfrm>
            <a:off x="7166171" y="1714500"/>
            <a:ext cx="0" cy="548640"/>
          </a:xfrm>
          <a:prstGeom prst="line">
            <a:avLst/>
          </a:prstGeom>
          <a:ln w="1905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14DA1906-6F1F-60C4-C865-A62622D7431D}"/>
              </a:ext>
            </a:extLst>
          </p:cNvPr>
          <p:cNvSpPr txBox="1"/>
          <p:nvPr/>
        </p:nvSpPr>
        <p:spPr>
          <a:xfrm>
            <a:off x="514350" y="2807259"/>
            <a:ext cx="1094492" cy="747025"/>
          </a:xfrm>
          <a:prstGeom prst="rect">
            <a:avLst/>
          </a:prstGeom>
          <a:noFill/>
        </p:spPr>
        <p:txBody>
          <a:bodyPr wrap="none" lIns="27000" tIns="27000" rIns="27000" bIns="2700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spc="-113" dirty="0">
                <a:solidFill>
                  <a:srgbClr val="285BC5"/>
                </a:solidFill>
                <a:latin typeface="Arial Black" panose="020B0A04020102020204"/>
              </a:rPr>
              <a:t>2</a:t>
            </a:r>
            <a:r>
              <a:rPr kumimoji="0" lang="en-US" sz="2400" b="0" i="0" u="none" strike="noStrike" kern="1200" cap="none" spc="-113" normalizeH="0" baseline="0" noProof="0" dirty="0">
                <a:ln>
                  <a:noFill/>
                </a:ln>
                <a:solidFill>
                  <a:srgbClr val="285BC5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,250+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sury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ient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72AF0B63-AB04-3635-5A9E-C7B7FFF73864}"/>
              </a:ext>
            </a:extLst>
          </p:cNvPr>
          <p:cNvCxnSpPr>
            <a:cxnSpLocks/>
          </p:cNvCxnSpPr>
          <p:nvPr/>
        </p:nvCxnSpPr>
        <p:spPr>
          <a:xfrm>
            <a:off x="457200" y="2807258"/>
            <a:ext cx="0" cy="822960"/>
          </a:xfrm>
          <a:prstGeom prst="line">
            <a:avLst/>
          </a:prstGeom>
          <a:ln w="19050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0E17A1A1-71A3-855D-6AC2-45F67AFB1F4D}"/>
              </a:ext>
            </a:extLst>
          </p:cNvPr>
          <p:cNvSpPr txBox="1"/>
          <p:nvPr/>
        </p:nvSpPr>
        <p:spPr>
          <a:xfrm>
            <a:off x="1797404" y="2807259"/>
            <a:ext cx="1094492" cy="747025"/>
          </a:xfrm>
          <a:prstGeom prst="rect">
            <a:avLst/>
          </a:prstGeom>
          <a:noFill/>
        </p:spPr>
        <p:txBody>
          <a:bodyPr wrap="none" lIns="27000" tIns="27000" rIns="27000" bIns="2700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spc="-113" dirty="0">
                <a:solidFill>
                  <a:srgbClr val="285BC5"/>
                </a:solidFill>
                <a:latin typeface="Arial Black" panose="020B0A04020102020204"/>
              </a:rPr>
              <a:t>3</a:t>
            </a:r>
            <a:r>
              <a:rPr kumimoji="0" lang="en-US" sz="2400" b="0" i="0" u="none" strike="noStrike" kern="1200" cap="none" spc="-113" normalizeH="0" baseline="0" noProof="0" dirty="0">
                <a:ln>
                  <a:noFill/>
                </a:ln>
                <a:solidFill>
                  <a:srgbClr val="285BC5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,500+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k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ients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1976074-16AF-5135-0542-FD3243C3846E}"/>
              </a:ext>
            </a:extLst>
          </p:cNvPr>
          <p:cNvCxnSpPr>
            <a:cxnSpLocks/>
          </p:cNvCxnSpPr>
          <p:nvPr/>
        </p:nvCxnSpPr>
        <p:spPr>
          <a:xfrm>
            <a:off x="1740254" y="2807258"/>
            <a:ext cx="0" cy="822960"/>
          </a:xfrm>
          <a:prstGeom prst="line">
            <a:avLst/>
          </a:prstGeom>
          <a:ln w="19050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24288D6A-17D0-7B8F-9D0E-880FA346D201}"/>
              </a:ext>
            </a:extLst>
          </p:cNvPr>
          <p:cNvSpPr txBox="1"/>
          <p:nvPr/>
        </p:nvSpPr>
        <p:spPr>
          <a:xfrm>
            <a:off x="7735791" y="2807260"/>
            <a:ext cx="1171821" cy="793191"/>
          </a:xfrm>
          <a:prstGeom prst="rect">
            <a:avLst/>
          </a:prstGeom>
          <a:noFill/>
        </p:spPr>
        <p:txBody>
          <a:bodyPr wrap="none" lIns="27000" tIns="27000" rIns="27000" bIns="2700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-113" normalizeH="0" baseline="30000" noProof="0" dirty="0">
                <a:ln>
                  <a:noFill/>
                </a:ln>
                <a:solidFill>
                  <a:srgbClr val="4C12A1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$</a:t>
            </a:r>
            <a:r>
              <a:rPr lang="en-US" sz="2700" spc="-113" dirty="0">
                <a:solidFill>
                  <a:srgbClr val="4C12A1"/>
                </a:solidFill>
                <a:latin typeface="Arial Black" panose="020B0A04020102020204"/>
              </a:rPr>
              <a:t>100</a:t>
            </a:r>
            <a:r>
              <a:rPr kumimoji="0" lang="en-US" sz="2700" b="0" i="0" u="none" strike="noStrike" kern="1200" cap="none" spc="-113" normalizeH="0" baseline="0" noProof="0" dirty="0">
                <a:ln>
                  <a:noFill/>
                </a:ln>
                <a:solidFill>
                  <a:srgbClr val="4C12A1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M of Traditiona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set Managers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DC04E1E-2119-EBC5-52F6-9E23FF5EDA23}"/>
              </a:ext>
            </a:extLst>
          </p:cNvPr>
          <p:cNvCxnSpPr>
            <a:cxnSpLocks/>
          </p:cNvCxnSpPr>
          <p:nvPr/>
        </p:nvCxnSpPr>
        <p:spPr>
          <a:xfrm>
            <a:off x="7678640" y="2807259"/>
            <a:ext cx="0" cy="822960"/>
          </a:xfrm>
          <a:prstGeom prst="line">
            <a:avLst/>
          </a:prstGeom>
          <a:ln w="1905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BF471D3D-1E16-18ED-CB63-4C7E4D0A0EA6}"/>
              </a:ext>
            </a:extLst>
          </p:cNvPr>
          <p:cNvSpPr txBox="1"/>
          <p:nvPr/>
        </p:nvSpPr>
        <p:spPr>
          <a:xfrm>
            <a:off x="6297646" y="2807260"/>
            <a:ext cx="1110907" cy="793191"/>
          </a:xfrm>
          <a:prstGeom prst="rect">
            <a:avLst/>
          </a:prstGeom>
          <a:noFill/>
        </p:spPr>
        <p:txBody>
          <a:bodyPr wrap="none" lIns="27000" tIns="27000" rIns="27000" bIns="2700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-113" normalizeH="0" baseline="30000" noProof="0" dirty="0">
                <a:ln>
                  <a:noFill/>
                </a:ln>
                <a:solidFill>
                  <a:srgbClr val="4C12A1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$</a:t>
            </a:r>
            <a:r>
              <a:rPr lang="en-US" sz="2700" spc="-113" dirty="0">
                <a:solidFill>
                  <a:srgbClr val="4C12A1"/>
                </a:solidFill>
                <a:latin typeface="Arial Black" panose="020B0A04020102020204"/>
              </a:rPr>
              <a:t>10</a:t>
            </a:r>
            <a:r>
              <a:rPr kumimoji="0" lang="en-US" sz="2700" b="0" i="0" u="none" strike="noStrike" kern="1200" cap="none" spc="-113" normalizeH="0" baseline="0" noProof="0" dirty="0">
                <a:ln>
                  <a:noFill/>
                </a:ln>
                <a:solidFill>
                  <a:srgbClr val="4C12A1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M of Private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quity Institutions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58205AD-48E8-D71B-506F-FCDF01C37CA3}"/>
              </a:ext>
            </a:extLst>
          </p:cNvPr>
          <p:cNvCxnSpPr>
            <a:cxnSpLocks/>
          </p:cNvCxnSpPr>
          <p:nvPr/>
        </p:nvCxnSpPr>
        <p:spPr>
          <a:xfrm>
            <a:off x="6240496" y="2807259"/>
            <a:ext cx="0" cy="822960"/>
          </a:xfrm>
          <a:prstGeom prst="line">
            <a:avLst/>
          </a:prstGeom>
          <a:ln w="1905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81B99BBD-CB5D-C774-8B27-F898EDB0792D}"/>
              </a:ext>
            </a:extLst>
          </p:cNvPr>
          <p:cNvSpPr txBox="1"/>
          <p:nvPr/>
        </p:nvSpPr>
        <p:spPr>
          <a:xfrm>
            <a:off x="4629151" y="2807259"/>
            <a:ext cx="1360975" cy="747025"/>
          </a:xfrm>
          <a:prstGeom prst="rect">
            <a:avLst/>
          </a:prstGeom>
          <a:noFill/>
        </p:spPr>
        <p:txBody>
          <a:bodyPr wrap="none" lIns="27000" tIns="27000" rIns="27000" bIns="2700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spc="-113" dirty="0">
                <a:solidFill>
                  <a:srgbClr val="4C12A1"/>
                </a:solidFill>
                <a:latin typeface="Arial Black" panose="020B0A04020102020204"/>
              </a:rPr>
              <a:t>20</a:t>
            </a:r>
            <a:r>
              <a:rPr kumimoji="0" lang="en-US" sz="1800" b="0" i="0" u="none" strike="noStrike" kern="1200" cap="none" spc="-225" normalizeH="0" baseline="0" noProof="0" dirty="0">
                <a:ln>
                  <a:noFill/>
                </a:ln>
                <a:solidFill>
                  <a:srgbClr val="4C12A1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-113" normalizeH="0" baseline="0" noProof="0" dirty="0">
                <a:ln>
                  <a:noFill/>
                </a:ln>
                <a:solidFill>
                  <a:srgbClr val="4C12A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</a:t>
            </a:r>
            <a:r>
              <a:rPr kumimoji="0" lang="en-US" sz="1800" b="0" i="0" u="none" strike="noStrike" kern="1200" cap="none" spc="-113" normalizeH="0" baseline="0" noProof="0" dirty="0">
                <a:ln>
                  <a:noFill/>
                </a:ln>
                <a:solidFill>
                  <a:srgbClr val="4C12A1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-113" normalizeH="0" baseline="0" noProof="0" dirty="0">
                <a:ln>
                  <a:noFill/>
                </a:ln>
                <a:solidFill>
                  <a:srgbClr val="4C12A1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25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p Loan Syndicatio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gents Served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CD4E9E8-303C-7D0F-8F7E-627867F09075}"/>
              </a:ext>
            </a:extLst>
          </p:cNvPr>
          <p:cNvCxnSpPr>
            <a:cxnSpLocks/>
          </p:cNvCxnSpPr>
          <p:nvPr/>
        </p:nvCxnSpPr>
        <p:spPr>
          <a:xfrm>
            <a:off x="4572000" y="2807259"/>
            <a:ext cx="0" cy="822960"/>
          </a:xfrm>
          <a:prstGeom prst="line">
            <a:avLst/>
          </a:prstGeom>
          <a:ln w="1905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4" name="Graphic 43">
            <a:extLst>
              <a:ext uri="{FF2B5EF4-FFF2-40B4-BE49-F238E27FC236}">
                <a16:creationId xmlns:a16="http://schemas.microsoft.com/office/drawing/2014/main" id="{5DA5B198-843C-DECF-BD9D-2FD6765FFA1B}"/>
              </a:ext>
            </a:extLst>
          </p:cNvPr>
          <p:cNvPicPr>
            <a:picLocks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14850" y="1769808"/>
            <a:ext cx="411480" cy="41148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55B57B09-C54E-2BEB-3683-E0F59E76073A}"/>
              </a:ext>
            </a:extLst>
          </p:cNvPr>
          <p:cNvPicPr>
            <a:picLocks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86550" y="1769808"/>
            <a:ext cx="411480" cy="41148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42582452-0FD3-0B2E-60F1-C1FB40F78B48}"/>
              </a:ext>
            </a:extLst>
          </p:cNvPr>
          <p:cNvPicPr>
            <a:picLocks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5009" y="1769808"/>
            <a:ext cx="411480" cy="411480"/>
          </a:xfrm>
          <a:prstGeom prst="rect">
            <a:avLst/>
          </a:prstGeom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29DF53E2-23FC-0DEA-0474-7450198DBBA9}"/>
              </a:ext>
            </a:extLst>
          </p:cNvPr>
          <p:cNvGrpSpPr/>
          <p:nvPr/>
        </p:nvGrpSpPr>
        <p:grpSpPr>
          <a:xfrm>
            <a:off x="400050" y="1159002"/>
            <a:ext cx="8446105" cy="390906"/>
            <a:chOff x="3974024" y="2430751"/>
            <a:chExt cx="7732003" cy="914400"/>
          </a:xfrm>
        </p:grpSpPr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D6F352B-1643-AF94-A303-85D4ADE451EA}"/>
                </a:ext>
              </a:extLst>
            </p:cNvPr>
            <p:cNvSpPr/>
            <p:nvPr/>
          </p:nvSpPr>
          <p:spPr>
            <a:xfrm>
              <a:off x="6992473" y="2430751"/>
              <a:ext cx="1506761" cy="914400"/>
            </a:xfrm>
            <a:custGeom>
              <a:avLst/>
              <a:gdLst>
                <a:gd name="connsiteX0" fmla="*/ 2364828 w 4603531"/>
                <a:gd name="connsiteY0" fmla="*/ 0 h 1786759"/>
                <a:gd name="connsiteX1" fmla="*/ 4603531 w 4603531"/>
                <a:gd name="connsiteY1" fmla="*/ 1786759 h 1786759"/>
                <a:gd name="connsiteX2" fmla="*/ 2238703 w 4603531"/>
                <a:gd name="connsiteY2" fmla="*/ 1786759 h 1786759"/>
                <a:gd name="connsiteX3" fmla="*/ 0 w 4603531"/>
                <a:gd name="connsiteY3" fmla="*/ 21021 h 1786759"/>
                <a:gd name="connsiteX4" fmla="*/ 2364828 w 4603531"/>
                <a:gd name="connsiteY4" fmla="*/ 0 h 1786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3531" h="1786759">
                  <a:moveTo>
                    <a:pt x="2364828" y="0"/>
                  </a:moveTo>
                  <a:lnTo>
                    <a:pt x="4603531" y="1786759"/>
                  </a:lnTo>
                  <a:lnTo>
                    <a:pt x="2238703" y="1786759"/>
                  </a:lnTo>
                  <a:lnTo>
                    <a:pt x="0" y="21021"/>
                  </a:lnTo>
                  <a:lnTo>
                    <a:pt x="2364828" y="0"/>
                  </a:lnTo>
                  <a:close/>
                </a:path>
              </a:pathLst>
            </a:custGeom>
            <a:gradFill>
              <a:gsLst>
                <a:gs pos="100000">
                  <a:schemeClr val="accent4"/>
                </a:gs>
                <a:gs pos="0">
                  <a:schemeClr val="accent3">
                    <a:lumMod val="75000"/>
                  </a:schemeClr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/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endParaRPr>
            </a:p>
          </p:txBody>
        </p:sp>
        <p:sp>
          <p:nvSpPr>
            <p:cNvPr id="51" name="Parallelogram 50">
              <a:extLst>
                <a:ext uri="{FF2B5EF4-FFF2-40B4-BE49-F238E27FC236}">
                  <a16:creationId xmlns:a16="http://schemas.microsoft.com/office/drawing/2014/main" id="{1E1F7EE6-5B15-22AC-9BF8-1BE8C9A64E10}"/>
                </a:ext>
              </a:extLst>
            </p:cNvPr>
            <p:cNvSpPr/>
            <p:nvPr/>
          </p:nvSpPr>
          <p:spPr>
            <a:xfrm>
              <a:off x="3974024" y="2430751"/>
              <a:ext cx="3766902" cy="914400"/>
            </a:xfrm>
            <a:prstGeom prst="parallelogram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36000" tIns="68580" rIns="36000" bIns="36000" rtlCol="0" anchor="ctr"/>
            <a:lstStyle/>
            <a:p>
              <a:pPr marL="0" marR="0" lvl="0" indent="0" algn="ctr" defTabSz="91437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MONEY </a:t>
              </a:r>
              <a:r>
                <a:rPr kumimoji="0" lang="en-US" sz="135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/>
                  <a:ea typeface="+mn-ea"/>
                  <a:cs typeface="Arial" panose="020B0604020202020204" pitchFamily="34" charset="0"/>
                </a:rPr>
                <a:t>IN MOTION</a:t>
              </a:r>
            </a:p>
          </p:txBody>
        </p:sp>
        <p:sp>
          <p:nvSpPr>
            <p:cNvPr id="52" name="Parallelogram 51">
              <a:extLst>
                <a:ext uri="{FF2B5EF4-FFF2-40B4-BE49-F238E27FC236}">
                  <a16:creationId xmlns:a16="http://schemas.microsoft.com/office/drawing/2014/main" id="{9F008C24-C87B-0389-EF59-4898D2B5A0B7}"/>
                </a:ext>
              </a:extLst>
            </p:cNvPr>
            <p:cNvSpPr/>
            <p:nvPr/>
          </p:nvSpPr>
          <p:spPr>
            <a:xfrm>
              <a:off x="7750780" y="2430751"/>
              <a:ext cx="3955247" cy="914400"/>
            </a:xfrm>
            <a:prstGeom prst="parallelogram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36000" tIns="68580" rIns="36000" bIns="36000" rtlCol="0" anchor="ctr"/>
            <a:lstStyle/>
            <a:p>
              <a:pPr marL="0" marR="0" lvl="0" indent="0" algn="ctr" defTabSz="91437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MONEY </a:t>
              </a:r>
              <a:r>
                <a:rPr kumimoji="0" lang="en-US" sz="135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/>
                  <a:ea typeface="+mn-ea"/>
                  <a:cs typeface="Arial" panose="020B0604020202020204" pitchFamily="34" charset="0"/>
                </a:rPr>
                <a:t>AT WOR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1896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018F93-D3AB-15B7-B2CF-E7A18E0E30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AU"/>
              <a:t>FIS Lending</a:t>
            </a:r>
          </a:p>
          <a:p>
            <a:r>
              <a:rPr lang="en-AU"/>
              <a:t>Ecosystem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841DC7B-8664-2660-CACB-23765C3B623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4767263"/>
            <a:ext cx="136525" cy="27463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30551D-6E63-4D32-98AF-2E81277E1E18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8265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Rectangle 201">
            <a:extLst>
              <a:ext uri="{FF2B5EF4-FFF2-40B4-BE49-F238E27FC236}">
                <a16:creationId xmlns:a16="http://schemas.microsoft.com/office/drawing/2014/main" id="{557D88C1-0C44-6CE7-7733-610915E6F7B3}"/>
              </a:ext>
            </a:extLst>
          </p:cNvPr>
          <p:cNvSpPr/>
          <p:nvPr/>
        </p:nvSpPr>
        <p:spPr>
          <a:xfrm>
            <a:off x="-6192" y="1146813"/>
            <a:ext cx="7914556" cy="3478982"/>
          </a:xfrm>
          <a:prstGeom prst="rect">
            <a:avLst/>
          </a:prstGeom>
          <a:gradFill flip="none" rotWithShape="1">
            <a:gsLst>
              <a:gs pos="50000">
                <a:schemeClr val="accent4"/>
              </a:gs>
              <a:gs pos="0">
                <a:schemeClr val="accent3"/>
              </a:gs>
              <a:gs pos="99000">
                <a:srgbClr val="00133B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itle 42">
            <a:extLst>
              <a:ext uri="{FF2B5EF4-FFF2-40B4-BE49-F238E27FC236}">
                <a16:creationId xmlns:a16="http://schemas.microsoft.com/office/drawing/2014/main" id="{640D8AB2-3650-FCCC-1021-235BDFB06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229070"/>
            <a:ext cx="8572500" cy="454751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FIS LENDING ECOSYSTEM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807F483-98CA-E3F6-9907-0086B52FED7B}"/>
              </a:ext>
            </a:extLst>
          </p:cNvPr>
          <p:cNvSpPr/>
          <p:nvPr/>
        </p:nvSpPr>
        <p:spPr>
          <a:xfrm rot="16200000">
            <a:off x="4580506" y="754697"/>
            <a:ext cx="260483" cy="7976813"/>
          </a:xfrm>
          <a:custGeom>
            <a:avLst/>
            <a:gdLst>
              <a:gd name="connsiteX0" fmla="*/ 1134000 w 1402495"/>
              <a:gd name="connsiteY0" fmla="*/ 0 h 2268000"/>
              <a:gd name="connsiteX1" fmla="*/ 1362541 w 1402495"/>
              <a:gd name="connsiteY1" fmla="*/ 23039 h 2268000"/>
              <a:gd name="connsiteX2" fmla="*/ 1392263 w 1402495"/>
              <a:gd name="connsiteY2" fmla="*/ 30681 h 2268000"/>
              <a:gd name="connsiteX3" fmla="*/ 1339940 w 1402495"/>
              <a:gd name="connsiteY3" fmla="*/ 23180 h 2268000"/>
              <a:gd name="connsiteX4" fmla="*/ 1218474 w 1402495"/>
              <a:gd name="connsiteY4" fmla="*/ 17418 h 2268000"/>
              <a:gd name="connsiteX5" fmla="*/ 30474 w 1402495"/>
              <a:gd name="connsiteY5" fmla="*/ 1133418 h 2268000"/>
              <a:gd name="connsiteX6" fmla="*/ 1218474 w 1402495"/>
              <a:gd name="connsiteY6" fmla="*/ 2249418 h 2268000"/>
              <a:gd name="connsiteX7" fmla="*/ 1339940 w 1402495"/>
              <a:gd name="connsiteY7" fmla="*/ 2243656 h 2268000"/>
              <a:gd name="connsiteX8" fmla="*/ 1402495 w 1402495"/>
              <a:gd name="connsiteY8" fmla="*/ 2234688 h 2268000"/>
              <a:gd name="connsiteX9" fmla="*/ 1362541 w 1402495"/>
              <a:gd name="connsiteY9" fmla="*/ 2244961 h 2268000"/>
              <a:gd name="connsiteX10" fmla="*/ 1134000 w 1402495"/>
              <a:gd name="connsiteY10" fmla="*/ 2268000 h 2268000"/>
              <a:gd name="connsiteX11" fmla="*/ 0 w 1402495"/>
              <a:gd name="connsiteY11" fmla="*/ 1134000 h 2268000"/>
              <a:gd name="connsiteX12" fmla="*/ 1134000 w 1402495"/>
              <a:gd name="connsiteY12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02495" h="2268000">
                <a:moveTo>
                  <a:pt x="1134000" y="0"/>
                </a:moveTo>
                <a:cubicBezTo>
                  <a:pt x="1212287" y="0"/>
                  <a:pt x="1288720" y="7933"/>
                  <a:pt x="1362541" y="23039"/>
                </a:cubicBezTo>
                <a:lnTo>
                  <a:pt x="1392263" y="30681"/>
                </a:lnTo>
                <a:lnTo>
                  <a:pt x="1339940" y="23180"/>
                </a:lnTo>
                <a:cubicBezTo>
                  <a:pt x="1300003" y="19370"/>
                  <a:pt x="1259481" y="17418"/>
                  <a:pt x="1218474" y="17418"/>
                </a:cubicBezTo>
                <a:cubicBezTo>
                  <a:pt x="562360" y="17418"/>
                  <a:pt x="30474" y="517068"/>
                  <a:pt x="30474" y="1133418"/>
                </a:cubicBezTo>
                <a:cubicBezTo>
                  <a:pt x="30474" y="1749768"/>
                  <a:pt x="562360" y="2249418"/>
                  <a:pt x="1218474" y="2249418"/>
                </a:cubicBezTo>
                <a:cubicBezTo>
                  <a:pt x="1259481" y="2249418"/>
                  <a:pt x="1300003" y="2247466"/>
                  <a:pt x="1339940" y="2243656"/>
                </a:cubicBezTo>
                <a:lnTo>
                  <a:pt x="1402495" y="2234688"/>
                </a:lnTo>
                <a:lnTo>
                  <a:pt x="1362541" y="2244961"/>
                </a:lnTo>
                <a:cubicBezTo>
                  <a:pt x="1288720" y="2260067"/>
                  <a:pt x="1212287" y="2268000"/>
                  <a:pt x="1134000" y="2268000"/>
                </a:cubicBezTo>
                <a:cubicBezTo>
                  <a:pt x="507709" y="2268000"/>
                  <a:pt x="0" y="1760291"/>
                  <a:pt x="0" y="1134000"/>
                </a:cubicBezTo>
                <a:cubicBezTo>
                  <a:pt x="0" y="507709"/>
                  <a:pt x="507709" y="0"/>
                  <a:pt x="113400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99CE090-1248-0918-EE42-806B13D7894D}"/>
              </a:ext>
            </a:extLst>
          </p:cNvPr>
          <p:cNvSpPr txBox="1"/>
          <p:nvPr/>
        </p:nvSpPr>
        <p:spPr>
          <a:xfrm>
            <a:off x="3824222" y="4595313"/>
            <a:ext cx="1727089" cy="195117"/>
          </a:xfrm>
          <a:prstGeom prst="roundRect">
            <a:avLst>
              <a:gd name="adj" fmla="val 50000"/>
            </a:avLst>
          </a:prstGeom>
          <a:noFill/>
        </p:spPr>
        <p:txBody>
          <a:bodyPr wrap="square" lIns="0" tIns="0" rIns="73152" bIns="0">
            <a:spAutoFit/>
          </a:bodyPr>
          <a:lstStyle/>
          <a:p>
            <a:pPr marL="0" marR="0" lvl="0" indent="0" algn="ctr" defTabSz="182876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285BC5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ENTERPRISE</a:t>
            </a: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285BC5">
                  <a:lumMod val="60000"/>
                  <a:lumOff val="40000"/>
                </a:srgbClr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470BF0A-4687-08FD-92C4-AC769089E440}"/>
              </a:ext>
            </a:extLst>
          </p:cNvPr>
          <p:cNvSpPr/>
          <p:nvPr/>
        </p:nvSpPr>
        <p:spPr>
          <a:xfrm>
            <a:off x="2713699" y="4758734"/>
            <a:ext cx="144000" cy="14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09AEEEB-BAF4-F929-2FF0-42F075915AA1}"/>
              </a:ext>
            </a:extLst>
          </p:cNvPr>
          <p:cNvSpPr/>
          <p:nvPr/>
        </p:nvSpPr>
        <p:spPr>
          <a:xfrm>
            <a:off x="4590180" y="4784819"/>
            <a:ext cx="144000" cy="14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57BDB3E-3613-74B0-2622-E239984D7351}"/>
              </a:ext>
            </a:extLst>
          </p:cNvPr>
          <p:cNvSpPr/>
          <p:nvPr/>
        </p:nvSpPr>
        <p:spPr>
          <a:xfrm>
            <a:off x="6466660" y="4738390"/>
            <a:ext cx="144000" cy="14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9488348-D7BE-402A-2F2F-AF8A6A886734}"/>
              </a:ext>
            </a:extLst>
          </p:cNvPr>
          <p:cNvSpPr txBox="1"/>
          <p:nvPr/>
        </p:nvSpPr>
        <p:spPr>
          <a:xfrm>
            <a:off x="2181639" y="4837252"/>
            <a:ext cx="1214647" cy="195117"/>
          </a:xfrm>
          <a:prstGeom prst="roundRect">
            <a:avLst>
              <a:gd name="adj" fmla="val 50000"/>
            </a:avLst>
          </a:prstGeom>
          <a:noFill/>
        </p:spPr>
        <p:txBody>
          <a:bodyPr wrap="square" lIns="0" tIns="0" rIns="73152" bIns="0" anchor="t">
            <a:spAutoFit/>
          </a:bodyPr>
          <a:lstStyle/>
          <a:p>
            <a:pPr marL="0" marR="0" lvl="0" indent="0" algn="ctr" defTabSz="182876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YC/COMPLIANCE</a:t>
            </a: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9E8C11B-FFEC-EC6A-592D-061D89786B36}"/>
              </a:ext>
            </a:extLst>
          </p:cNvPr>
          <p:cNvSpPr txBox="1"/>
          <p:nvPr/>
        </p:nvSpPr>
        <p:spPr>
          <a:xfrm>
            <a:off x="5681220" y="4837252"/>
            <a:ext cx="1728000" cy="195117"/>
          </a:xfrm>
          <a:prstGeom prst="roundRect">
            <a:avLst>
              <a:gd name="adj" fmla="val 50000"/>
            </a:avLst>
          </a:prstGeom>
          <a:noFill/>
        </p:spPr>
        <p:txBody>
          <a:bodyPr wrap="square" lIns="0" tIns="0" rIns="73152" bIns="0" anchor="t">
            <a:spAutoFit/>
          </a:bodyPr>
          <a:lstStyle/>
          <a:p>
            <a:pPr marL="0" marR="0" lvl="0" indent="0" algn="ctr" defTabSz="182876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CONCILIATION</a:t>
            </a:r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B7D941B9-B031-D06B-1FF3-0AD032543187}"/>
              </a:ext>
            </a:extLst>
          </p:cNvPr>
          <p:cNvSpPr/>
          <p:nvPr/>
        </p:nvSpPr>
        <p:spPr>
          <a:xfrm>
            <a:off x="1814381" y="810499"/>
            <a:ext cx="1406862" cy="295036"/>
          </a:xfrm>
          <a:prstGeom prst="round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27F4B28-A9CD-78D6-4D91-C48BCC8B251D}"/>
              </a:ext>
            </a:extLst>
          </p:cNvPr>
          <p:cNvSpPr txBox="1"/>
          <p:nvPr/>
        </p:nvSpPr>
        <p:spPr>
          <a:xfrm>
            <a:off x="1872529" y="807643"/>
            <a:ext cx="1286837" cy="300749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Commercial &amp; Corporat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9DB1F50-92FD-9AC2-F767-759BB4B34524}"/>
              </a:ext>
            </a:extLst>
          </p:cNvPr>
          <p:cNvSpPr/>
          <p:nvPr/>
        </p:nvSpPr>
        <p:spPr>
          <a:xfrm>
            <a:off x="3336524" y="810499"/>
            <a:ext cx="1406862" cy="295036"/>
          </a:xfrm>
          <a:prstGeom prst="round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9E71072-CF66-4C91-356D-705E824A2A88}"/>
              </a:ext>
            </a:extLst>
          </p:cNvPr>
          <p:cNvSpPr txBox="1"/>
          <p:nvPr/>
        </p:nvSpPr>
        <p:spPr>
          <a:xfrm>
            <a:off x="3394672" y="869198"/>
            <a:ext cx="1286837" cy="177638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Real Estat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4765096-BFC1-F2AF-02E9-1A0FEA0EEAF2}"/>
              </a:ext>
            </a:extLst>
          </p:cNvPr>
          <p:cNvSpPr/>
          <p:nvPr/>
        </p:nvSpPr>
        <p:spPr>
          <a:xfrm>
            <a:off x="4858667" y="810499"/>
            <a:ext cx="1406862" cy="295036"/>
          </a:xfrm>
          <a:prstGeom prst="round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3CD70F0-21D9-F789-96C5-1BB22E178222}"/>
              </a:ext>
            </a:extLst>
          </p:cNvPr>
          <p:cNvSpPr txBox="1"/>
          <p:nvPr/>
        </p:nvSpPr>
        <p:spPr>
          <a:xfrm>
            <a:off x="4916815" y="869198"/>
            <a:ext cx="1286837" cy="177638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Development Financ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00407D19-C2EE-86A4-F3C9-D805C85944B6}"/>
              </a:ext>
            </a:extLst>
          </p:cNvPr>
          <p:cNvSpPr/>
          <p:nvPr/>
        </p:nvSpPr>
        <p:spPr>
          <a:xfrm>
            <a:off x="292238" y="810499"/>
            <a:ext cx="1406862" cy="295036"/>
          </a:xfrm>
          <a:prstGeom prst="roundRect">
            <a:avLst/>
          </a:prstGeom>
          <a:solidFill>
            <a:schemeClr val="tx2">
              <a:alpha val="9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FADB8BE-18A6-26B1-D57A-1AD6036D988C}"/>
              </a:ext>
            </a:extLst>
          </p:cNvPr>
          <p:cNvSpPr txBox="1"/>
          <p:nvPr/>
        </p:nvSpPr>
        <p:spPr>
          <a:xfrm>
            <a:off x="350386" y="869198"/>
            <a:ext cx="1286837" cy="177638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SM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465A7F28-DDF7-89ED-3EC8-A97C95C05FEC}"/>
              </a:ext>
            </a:extLst>
          </p:cNvPr>
          <p:cNvSpPr/>
          <p:nvPr/>
        </p:nvSpPr>
        <p:spPr>
          <a:xfrm>
            <a:off x="6380810" y="810499"/>
            <a:ext cx="1406862" cy="295036"/>
          </a:xfrm>
          <a:prstGeom prst="round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3C85149-543D-EBF6-BBDB-FCC6EACAEB97}"/>
              </a:ext>
            </a:extLst>
          </p:cNvPr>
          <p:cNvSpPr txBox="1"/>
          <p:nvPr/>
        </p:nvSpPr>
        <p:spPr>
          <a:xfrm>
            <a:off x="6438958" y="869198"/>
            <a:ext cx="1286837" cy="177638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Asset Financ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5043C072-EC08-67E6-5058-4A14B783FAFB}"/>
              </a:ext>
            </a:extLst>
          </p:cNvPr>
          <p:cNvSpPr/>
          <p:nvPr/>
        </p:nvSpPr>
        <p:spPr>
          <a:xfrm>
            <a:off x="0" y="1144898"/>
            <a:ext cx="7914556" cy="3467965"/>
          </a:xfrm>
          <a:custGeom>
            <a:avLst/>
            <a:gdLst>
              <a:gd name="connsiteX0" fmla="*/ 0 w 3726839"/>
              <a:gd name="connsiteY0" fmla="*/ 0 h 3240035"/>
              <a:gd name="connsiteX1" fmla="*/ 2273808 w 3726839"/>
              <a:gd name="connsiteY1" fmla="*/ 0 h 3240035"/>
              <a:gd name="connsiteX2" fmla="*/ 2273808 w 3726839"/>
              <a:gd name="connsiteY2" fmla="*/ 1 h 3240035"/>
              <a:gd name="connsiteX3" fmla="*/ 3510664 w 3726839"/>
              <a:gd name="connsiteY3" fmla="*/ 1 h 3240035"/>
              <a:gd name="connsiteX4" fmla="*/ 3726839 w 3726839"/>
              <a:gd name="connsiteY4" fmla="*/ 216176 h 3240035"/>
              <a:gd name="connsiteX5" fmla="*/ 3726839 w 3726839"/>
              <a:gd name="connsiteY5" fmla="*/ 3023860 h 3240035"/>
              <a:gd name="connsiteX6" fmla="*/ 3510664 w 3726839"/>
              <a:gd name="connsiteY6" fmla="*/ 3240035 h 3240035"/>
              <a:gd name="connsiteX7" fmla="*/ 216175 w 3726839"/>
              <a:gd name="connsiteY7" fmla="*/ 3240035 h 3240035"/>
              <a:gd name="connsiteX8" fmla="*/ 216165 w 3726839"/>
              <a:gd name="connsiteY8" fmla="*/ 3240034 h 3240035"/>
              <a:gd name="connsiteX9" fmla="*/ 0 w 3726839"/>
              <a:gd name="connsiteY9" fmla="*/ 3240034 h 3240035"/>
              <a:gd name="connsiteX10" fmla="*/ 0 w 3726839"/>
              <a:gd name="connsiteY10" fmla="*/ 3023860 h 3240035"/>
              <a:gd name="connsiteX11" fmla="*/ 0 w 3726839"/>
              <a:gd name="connsiteY11" fmla="*/ 216176 h 324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726839" h="3240035">
                <a:moveTo>
                  <a:pt x="0" y="0"/>
                </a:moveTo>
                <a:lnTo>
                  <a:pt x="2273808" y="0"/>
                </a:lnTo>
                <a:lnTo>
                  <a:pt x="2273808" y="1"/>
                </a:lnTo>
                <a:lnTo>
                  <a:pt x="3510664" y="1"/>
                </a:lnTo>
                <a:cubicBezTo>
                  <a:pt x="3630054" y="1"/>
                  <a:pt x="3726839" y="96786"/>
                  <a:pt x="3726839" y="216176"/>
                </a:cubicBezTo>
                <a:lnTo>
                  <a:pt x="3726839" y="3023860"/>
                </a:lnTo>
                <a:cubicBezTo>
                  <a:pt x="3726839" y="3143250"/>
                  <a:pt x="3630054" y="3240035"/>
                  <a:pt x="3510664" y="3240035"/>
                </a:cubicBezTo>
                <a:lnTo>
                  <a:pt x="216175" y="3240035"/>
                </a:lnTo>
                <a:lnTo>
                  <a:pt x="216165" y="3240034"/>
                </a:lnTo>
                <a:lnTo>
                  <a:pt x="0" y="3240034"/>
                </a:lnTo>
                <a:lnTo>
                  <a:pt x="0" y="3023860"/>
                </a:lnTo>
                <a:lnTo>
                  <a:pt x="0" y="216176"/>
                </a:lnTo>
                <a:close/>
              </a:path>
            </a:pathLst>
          </a:custGeom>
          <a:gradFill flip="none" rotWithShape="1">
            <a:gsLst>
              <a:gs pos="70000">
                <a:schemeClr val="accent4">
                  <a:alpha val="40000"/>
                </a:schemeClr>
              </a:gs>
              <a:gs pos="100000">
                <a:schemeClr val="tx1">
                  <a:alpha val="10000"/>
                </a:schemeClr>
              </a:gs>
            </a:gsLst>
            <a:lin ang="16200000" scaled="1"/>
            <a:tileRect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5EB08B3D-46C4-B68E-4E67-C37B2779BDC8}"/>
              </a:ext>
            </a:extLst>
          </p:cNvPr>
          <p:cNvSpPr/>
          <p:nvPr/>
        </p:nvSpPr>
        <p:spPr>
          <a:xfrm flipV="1">
            <a:off x="7972705" y="1278139"/>
            <a:ext cx="1096250" cy="3334724"/>
          </a:xfrm>
          <a:prstGeom prst="roundRect">
            <a:avLst>
              <a:gd name="adj" fmla="val 13945"/>
            </a:avLst>
          </a:prstGeom>
          <a:solidFill>
            <a:schemeClr val="accent4">
              <a:alpha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C90BA08-01D9-51ED-9BC4-B519BC99A3C4}"/>
              </a:ext>
            </a:extLst>
          </p:cNvPr>
          <p:cNvSpPr txBox="1"/>
          <p:nvPr/>
        </p:nvSpPr>
        <p:spPr>
          <a:xfrm>
            <a:off x="8019127" y="1309660"/>
            <a:ext cx="1003407" cy="2916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4BCD3E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SYNDICATION &amp; TRADING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21B5D4DB-7979-EB20-5A28-C5BB1DEBB25C}"/>
              </a:ext>
            </a:extLst>
          </p:cNvPr>
          <p:cNvSpPr/>
          <p:nvPr/>
        </p:nvSpPr>
        <p:spPr>
          <a:xfrm flipV="1">
            <a:off x="307606" y="1278138"/>
            <a:ext cx="7480066" cy="1036112"/>
          </a:xfrm>
          <a:prstGeom prst="roundRect">
            <a:avLst>
              <a:gd name="adj" fmla="val 10415"/>
            </a:avLst>
          </a:prstGeom>
          <a:solidFill>
            <a:schemeClr val="accent2">
              <a:alpha val="2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102A142-89C0-09E6-6562-7DECB421002C}"/>
              </a:ext>
            </a:extLst>
          </p:cNvPr>
          <p:cNvSpPr txBox="1"/>
          <p:nvPr/>
        </p:nvSpPr>
        <p:spPr>
          <a:xfrm>
            <a:off x="354028" y="1309660"/>
            <a:ext cx="1966550" cy="1931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4BCD3E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RISK MANAGEMENT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3525C454-E6D2-BEE4-F97C-B72BD982F627}"/>
              </a:ext>
            </a:extLst>
          </p:cNvPr>
          <p:cNvSpPr/>
          <p:nvPr/>
        </p:nvSpPr>
        <p:spPr>
          <a:xfrm flipV="1">
            <a:off x="292238" y="2391042"/>
            <a:ext cx="7480066" cy="1169352"/>
          </a:xfrm>
          <a:prstGeom prst="roundRect">
            <a:avLst>
              <a:gd name="adj" fmla="val 10415"/>
            </a:avLst>
          </a:prstGeom>
          <a:solidFill>
            <a:schemeClr val="accent2">
              <a:alpha val="2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D65FB64-9808-E916-F2D0-DDE575F15E0A}"/>
              </a:ext>
            </a:extLst>
          </p:cNvPr>
          <p:cNvSpPr txBox="1"/>
          <p:nvPr/>
        </p:nvSpPr>
        <p:spPr>
          <a:xfrm>
            <a:off x="338660" y="2422564"/>
            <a:ext cx="1966550" cy="1931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4BCD3E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ORIGINATION &amp; REVIEW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09D28F87-C12C-3C3F-57E3-D16A9C618482}"/>
              </a:ext>
            </a:extLst>
          </p:cNvPr>
          <p:cNvSpPr/>
          <p:nvPr/>
        </p:nvSpPr>
        <p:spPr>
          <a:xfrm flipV="1">
            <a:off x="292238" y="3637186"/>
            <a:ext cx="7480066" cy="898886"/>
          </a:xfrm>
          <a:prstGeom prst="roundRect">
            <a:avLst>
              <a:gd name="adj" fmla="val 10415"/>
            </a:avLst>
          </a:prstGeom>
          <a:solidFill>
            <a:schemeClr val="accent2">
              <a:alpha val="2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7538F8D-B94C-6AEC-F82E-D6F9F9DBD73F}"/>
              </a:ext>
            </a:extLst>
          </p:cNvPr>
          <p:cNvSpPr txBox="1"/>
          <p:nvPr/>
        </p:nvSpPr>
        <p:spPr>
          <a:xfrm>
            <a:off x="338660" y="3668708"/>
            <a:ext cx="1966550" cy="1931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4BCD3E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SERVICING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FA299F51-26B0-6388-DE5C-1D69481FC48C}"/>
              </a:ext>
            </a:extLst>
          </p:cNvPr>
          <p:cNvGrpSpPr/>
          <p:nvPr/>
        </p:nvGrpSpPr>
        <p:grpSpPr>
          <a:xfrm>
            <a:off x="437608" y="1462060"/>
            <a:ext cx="2601368" cy="817641"/>
            <a:chOff x="437608" y="1582561"/>
            <a:chExt cx="2601368" cy="817641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2801448E-23B0-0C6D-8BC7-0E8F7C5AF0C2}"/>
                </a:ext>
              </a:extLst>
            </p:cNvPr>
            <p:cNvGrpSpPr/>
            <p:nvPr/>
          </p:nvGrpSpPr>
          <p:grpSpPr>
            <a:xfrm>
              <a:off x="437608" y="1750322"/>
              <a:ext cx="846552" cy="295036"/>
              <a:chOff x="437608" y="1704602"/>
              <a:chExt cx="846552" cy="295036"/>
            </a:xfrm>
          </p:grpSpPr>
          <p:sp>
            <p:nvSpPr>
              <p:cNvPr id="68" name="Rectangle: Rounded Corners 67">
                <a:extLst>
                  <a:ext uri="{FF2B5EF4-FFF2-40B4-BE49-F238E27FC236}">
                    <a16:creationId xmlns:a16="http://schemas.microsoft.com/office/drawing/2014/main" id="{026497B7-B3F5-D9ED-265D-827AD412C53E}"/>
                  </a:ext>
                </a:extLst>
              </p:cNvPr>
              <p:cNvSpPr/>
              <p:nvPr/>
            </p:nvSpPr>
            <p:spPr>
              <a:xfrm>
                <a:off x="446884" y="1704602"/>
                <a:ext cx="828000" cy="295036"/>
              </a:xfrm>
              <a:prstGeom prst="roundRect">
                <a:avLst/>
              </a:prstGeom>
              <a:solidFill>
                <a:schemeClr val="tx2">
                  <a:alpha val="10000"/>
                </a:schemeClr>
              </a:solidFill>
              <a:ln w="6350">
                <a:gradFill>
                  <a:gsLst>
                    <a:gs pos="0">
                      <a:schemeClr val="tx2"/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tx2"/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1EFCC0FA-A71F-6B2F-307D-D841AD03BDFE}"/>
                  </a:ext>
                </a:extLst>
              </p:cNvPr>
              <p:cNvSpPr txBox="1"/>
              <p:nvPr/>
            </p:nvSpPr>
            <p:spPr>
              <a:xfrm>
                <a:off x="437608" y="1778690"/>
                <a:ext cx="846552" cy="146860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Climate Risk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48C6E354-D0BD-1317-C146-5FF205B4034D}"/>
                </a:ext>
              </a:extLst>
            </p:cNvPr>
            <p:cNvGrpSpPr/>
            <p:nvPr/>
          </p:nvGrpSpPr>
          <p:grpSpPr>
            <a:xfrm>
              <a:off x="441715" y="2105166"/>
              <a:ext cx="828000" cy="295036"/>
              <a:chOff x="441715" y="2032014"/>
              <a:chExt cx="828000" cy="295036"/>
            </a:xfrm>
          </p:grpSpPr>
          <p:sp>
            <p:nvSpPr>
              <p:cNvPr id="66" name="Rectangle: Rounded Corners 65">
                <a:extLst>
                  <a:ext uri="{FF2B5EF4-FFF2-40B4-BE49-F238E27FC236}">
                    <a16:creationId xmlns:a16="http://schemas.microsoft.com/office/drawing/2014/main" id="{97E98F88-0D94-7346-9DDD-02E431936840}"/>
                  </a:ext>
                </a:extLst>
              </p:cNvPr>
              <p:cNvSpPr/>
              <p:nvPr/>
            </p:nvSpPr>
            <p:spPr>
              <a:xfrm>
                <a:off x="441715" y="2032014"/>
                <a:ext cx="828000" cy="295036"/>
              </a:xfrm>
              <a:prstGeom prst="roundRect">
                <a:avLst/>
              </a:prstGeom>
              <a:solidFill>
                <a:schemeClr val="tx2">
                  <a:alpha val="10000"/>
                </a:schemeClr>
              </a:solidFill>
              <a:ln w="6350">
                <a:gradFill>
                  <a:gsLst>
                    <a:gs pos="0">
                      <a:schemeClr val="tx2"/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tx2"/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4D100200-751F-6161-BEFC-26E830E37180}"/>
                  </a:ext>
                </a:extLst>
              </p:cNvPr>
              <p:cNvSpPr txBox="1"/>
              <p:nvPr/>
            </p:nvSpPr>
            <p:spPr>
              <a:xfrm>
                <a:off x="441715" y="2106102"/>
                <a:ext cx="828000" cy="146860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nterest Rate Risk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A4B93F5-9D02-C82C-8F6C-496CF9CD5F3D}"/>
                </a:ext>
              </a:extLst>
            </p:cNvPr>
            <p:cNvGrpSpPr/>
            <p:nvPr/>
          </p:nvGrpSpPr>
          <p:grpSpPr>
            <a:xfrm>
              <a:off x="1315016" y="1750322"/>
              <a:ext cx="846552" cy="295036"/>
              <a:chOff x="1475036" y="1704602"/>
              <a:chExt cx="846552" cy="295036"/>
            </a:xfrm>
          </p:grpSpPr>
          <p:sp>
            <p:nvSpPr>
              <p:cNvPr id="64" name="Rectangle: Rounded Corners 63">
                <a:extLst>
                  <a:ext uri="{FF2B5EF4-FFF2-40B4-BE49-F238E27FC236}">
                    <a16:creationId xmlns:a16="http://schemas.microsoft.com/office/drawing/2014/main" id="{84EC2F2A-A0A2-A76F-8347-48D9EE73B445}"/>
                  </a:ext>
                </a:extLst>
              </p:cNvPr>
              <p:cNvSpPr/>
              <p:nvPr/>
            </p:nvSpPr>
            <p:spPr>
              <a:xfrm>
                <a:off x="1484312" y="1704602"/>
                <a:ext cx="828000" cy="295036"/>
              </a:xfrm>
              <a:prstGeom prst="roundRect">
                <a:avLst/>
              </a:prstGeom>
              <a:solidFill>
                <a:schemeClr val="tx2">
                  <a:alpha val="10000"/>
                </a:schemeClr>
              </a:solidFill>
              <a:ln w="6350">
                <a:gradFill>
                  <a:gsLst>
                    <a:gs pos="0">
                      <a:schemeClr val="tx2"/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tx2"/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C7BE7A74-96CB-0EA6-BE70-4655F02936A6}"/>
                  </a:ext>
                </a:extLst>
              </p:cNvPr>
              <p:cNvSpPr txBox="1"/>
              <p:nvPr/>
            </p:nvSpPr>
            <p:spPr>
              <a:xfrm>
                <a:off x="1475036" y="1778690"/>
                <a:ext cx="846552" cy="146860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Counterparty Risk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4A7CBDB1-5034-CB32-4ECC-7954358D63D6}"/>
                </a:ext>
              </a:extLst>
            </p:cNvPr>
            <p:cNvGrpSpPr/>
            <p:nvPr/>
          </p:nvGrpSpPr>
          <p:grpSpPr>
            <a:xfrm>
              <a:off x="2192424" y="2105166"/>
              <a:ext cx="828000" cy="295036"/>
              <a:chOff x="2512464" y="2032014"/>
              <a:chExt cx="828000" cy="295036"/>
            </a:xfrm>
          </p:grpSpPr>
          <p:sp>
            <p:nvSpPr>
              <p:cNvPr id="62" name="Rectangle: Rounded Corners 61">
                <a:extLst>
                  <a:ext uri="{FF2B5EF4-FFF2-40B4-BE49-F238E27FC236}">
                    <a16:creationId xmlns:a16="http://schemas.microsoft.com/office/drawing/2014/main" id="{FB7444CD-3C0D-9DB8-7EFC-26863EA2FE43}"/>
                  </a:ext>
                </a:extLst>
              </p:cNvPr>
              <p:cNvSpPr/>
              <p:nvPr/>
            </p:nvSpPr>
            <p:spPr>
              <a:xfrm>
                <a:off x="2512464" y="2032014"/>
                <a:ext cx="828000" cy="295036"/>
              </a:xfrm>
              <a:prstGeom prst="roundRect">
                <a:avLst/>
              </a:prstGeom>
              <a:solidFill>
                <a:schemeClr val="tx2">
                  <a:alpha val="10000"/>
                </a:schemeClr>
              </a:solidFill>
              <a:ln w="6350">
                <a:gradFill>
                  <a:gsLst>
                    <a:gs pos="0">
                      <a:schemeClr val="tx2"/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tx2"/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71DBB203-0A90-9A40-072C-97800511CFE5}"/>
                  </a:ext>
                </a:extLst>
              </p:cNvPr>
              <p:cNvSpPr txBox="1"/>
              <p:nvPr/>
            </p:nvSpPr>
            <p:spPr>
              <a:xfrm>
                <a:off x="2512464" y="2106102"/>
                <a:ext cx="828000" cy="146860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sidual Value Risk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5C8E524A-7A53-8F2C-61A1-A3D67F0E2753}"/>
                </a:ext>
              </a:extLst>
            </p:cNvPr>
            <p:cNvGrpSpPr/>
            <p:nvPr/>
          </p:nvGrpSpPr>
          <p:grpSpPr>
            <a:xfrm>
              <a:off x="1317069" y="2105166"/>
              <a:ext cx="828000" cy="295036"/>
              <a:chOff x="1475036" y="2032014"/>
              <a:chExt cx="828000" cy="295036"/>
            </a:xfrm>
          </p:grpSpPr>
          <p:sp>
            <p:nvSpPr>
              <p:cNvPr id="60" name="Rectangle: Rounded Corners 59">
                <a:extLst>
                  <a:ext uri="{FF2B5EF4-FFF2-40B4-BE49-F238E27FC236}">
                    <a16:creationId xmlns:a16="http://schemas.microsoft.com/office/drawing/2014/main" id="{E4CADE67-C5F4-4766-F13E-C888A54AE903}"/>
                  </a:ext>
                </a:extLst>
              </p:cNvPr>
              <p:cNvSpPr/>
              <p:nvPr/>
            </p:nvSpPr>
            <p:spPr>
              <a:xfrm>
                <a:off x="1475036" y="2032014"/>
                <a:ext cx="828000" cy="295036"/>
              </a:xfrm>
              <a:prstGeom prst="roundRect">
                <a:avLst/>
              </a:prstGeom>
              <a:solidFill>
                <a:schemeClr val="tx2">
                  <a:alpha val="10000"/>
                </a:schemeClr>
              </a:solidFill>
              <a:ln w="6350">
                <a:gradFill>
                  <a:gsLst>
                    <a:gs pos="0">
                      <a:schemeClr val="tx2"/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tx2"/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BBB7D5F1-47DF-17F9-F706-99F3AF238D89}"/>
                  </a:ext>
                </a:extLst>
              </p:cNvPr>
              <p:cNvSpPr txBox="1"/>
              <p:nvPr/>
            </p:nvSpPr>
            <p:spPr>
              <a:xfrm>
                <a:off x="1475036" y="2106102"/>
                <a:ext cx="828000" cy="146860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Market Risk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F85B93B5-9CC7-76C6-0DDE-B166315A32FF}"/>
                </a:ext>
              </a:extLst>
            </p:cNvPr>
            <p:cNvGrpSpPr/>
            <p:nvPr/>
          </p:nvGrpSpPr>
          <p:grpSpPr>
            <a:xfrm>
              <a:off x="2192424" y="1750322"/>
              <a:ext cx="846552" cy="295036"/>
              <a:chOff x="2512464" y="1704602"/>
              <a:chExt cx="846552" cy="295036"/>
            </a:xfrm>
          </p:grpSpPr>
          <p:sp>
            <p:nvSpPr>
              <p:cNvPr id="58" name="Rectangle: Rounded Corners 57">
                <a:extLst>
                  <a:ext uri="{FF2B5EF4-FFF2-40B4-BE49-F238E27FC236}">
                    <a16:creationId xmlns:a16="http://schemas.microsoft.com/office/drawing/2014/main" id="{D0973E1D-C563-EA66-BEAD-9EE71CDE4F14}"/>
                  </a:ext>
                </a:extLst>
              </p:cNvPr>
              <p:cNvSpPr/>
              <p:nvPr/>
            </p:nvSpPr>
            <p:spPr>
              <a:xfrm>
                <a:off x="2521740" y="1704602"/>
                <a:ext cx="828000" cy="295036"/>
              </a:xfrm>
              <a:prstGeom prst="roundRect">
                <a:avLst/>
              </a:prstGeom>
              <a:solidFill>
                <a:schemeClr val="tx2">
                  <a:alpha val="10000"/>
                </a:schemeClr>
              </a:solidFill>
              <a:ln w="6350">
                <a:gradFill>
                  <a:gsLst>
                    <a:gs pos="0">
                      <a:schemeClr val="tx2"/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tx2"/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A9CBB8F1-313A-83B6-F84D-DB88027AA286}"/>
                  </a:ext>
                </a:extLst>
              </p:cNvPr>
              <p:cNvSpPr txBox="1"/>
              <p:nvPr/>
            </p:nvSpPr>
            <p:spPr>
              <a:xfrm>
                <a:off x="2512464" y="1778690"/>
                <a:ext cx="846552" cy="146860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Liquidity Risk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C107A1B7-8A95-A8F8-75D1-F3332D2EFBDB}"/>
                </a:ext>
              </a:extLst>
            </p:cNvPr>
            <p:cNvGrpSpPr/>
            <p:nvPr/>
          </p:nvGrpSpPr>
          <p:grpSpPr>
            <a:xfrm>
              <a:off x="437608" y="1582561"/>
              <a:ext cx="2556000" cy="167995"/>
              <a:chOff x="437608" y="1582561"/>
              <a:chExt cx="2556000" cy="167995"/>
            </a:xfrm>
          </p:grpSpPr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C4594BFB-A971-6B6F-ECB0-96BCFAC958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7608" y="1666558"/>
                <a:ext cx="2556000" cy="0"/>
              </a:xfrm>
              <a:prstGeom prst="line">
                <a:avLst/>
              </a:prstGeom>
              <a:ln w="9525">
                <a:gradFill>
                  <a:gsLst>
                    <a:gs pos="60000">
                      <a:srgbClr val="153911">
                        <a:alpha val="0"/>
                      </a:srgbClr>
                    </a:gs>
                    <a:gs pos="20000">
                      <a:schemeClr val="tx2">
                        <a:alpha val="80000"/>
                      </a:schemeClr>
                    </a:gs>
                    <a:gs pos="40000">
                      <a:schemeClr val="tx1">
                        <a:alpha val="0"/>
                      </a:schemeClr>
                    </a:gs>
                    <a:gs pos="80000">
                      <a:schemeClr val="tx2">
                        <a:alpha val="80000"/>
                      </a:schemeClr>
                    </a:gs>
                  </a:gsLst>
                  <a:lin ang="10800000" scaled="0"/>
                </a:gra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5187E51C-9A58-2170-0992-FFF001A72E66}"/>
                  </a:ext>
                </a:extLst>
              </p:cNvPr>
              <p:cNvSpPr txBox="1"/>
              <p:nvPr/>
            </p:nvSpPr>
            <p:spPr>
              <a:xfrm>
                <a:off x="1150211" y="1582561"/>
                <a:ext cx="1130795" cy="1679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6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/>
                    <a:ea typeface="+mn-ea"/>
                    <a:cs typeface="+mn-cs"/>
                  </a:rPr>
                  <a:t>RISK</a:t>
                </a:r>
              </a:p>
            </p:txBody>
          </p:sp>
        </p:grp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8615FCCF-4387-C21D-58B9-C7A956C5EA35}"/>
              </a:ext>
            </a:extLst>
          </p:cNvPr>
          <p:cNvGrpSpPr/>
          <p:nvPr/>
        </p:nvGrpSpPr>
        <p:grpSpPr>
          <a:xfrm>
            <a:off x="3169484" y="1452774"/>
            <a:ext cx="1407699" cy="826927"/>
            <a:chOff x="3163183" y="1567298"/>
            <a:chExt cx="1407699" cy="826927"/>
          </a:xfrm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E7EF4998-792B-802F-FA93-A5A8AD7F7D1C}"/>
                </a:ext>
              </a:extLst>
            </p:cNvPr>
            <p:cNvGrpSpPr/>
            <p:nvPr/>
          </p:nvGrpSpPr>
          <p:grpSpPr>
            <a:xfrm>
              <a:off x="3163183" y="1735059"/>
              <a:ext cx="684000" cy="322632"/>
              <a:chOff x="3163183" y="1772123"/>
              <a:chExt cx="684000" cy="322632"/>
            </a:xfrm>
          </p:grpSpPr>
          <p:sp>
            <p:nvSpPr>
              <p:cNvPr id="84" name="Rectangle: Rounded Corners 83">
                <a:extLst>
                  <a:ext uri="{FF2B5EF4-FFF2-40B4-BE49-F238E27FC236}">
                    <a16:creationId xmlns:a16="http://schemas.microsoft.com/office/drawing/2014/main" id="{019EA1BA-4503-F7A6-7D91-2F6A4723A308}"/>
                  </a:ext>
                </a:extLst>
              </p:cNvPr>
              <p:cNvSpPr/>
              <p:nvPr/>
            </p:nvSpPr>
            <p:spPr>
              <a:xfrm>
                <a:off x="3170678" y="1772123"/>
                <a:ext cx="669010" cy="295200"/>
              </a:xfrm>
              <a:prstGeom prst="roundRect">
                <a:avLst/>
              </a:prstGeom>
              <a:solidFill>
                <a:schemeClr val="accent2">
                  <a:alpha val="10000"/>
                </a:schemeClr>
              </a:solidFill>
              <a:ln w="6350">
                <a:gradFill>
                  <a:gsLst>
                    <a:gs pos="0">
                      <a:schemeClr val="accent2"/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accent2"/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67C69460-D665-70A1-8A06-01537E0897E8}"/>
                  </a:ext>
                </a:extLst>
              </p:cNvPr>
              <p:cNvSpPr txBox="1"/>
              <p:nvPr/>
            </p:nvSpPr>
            <p:spPr>
              <a:xfrm>
                <a:off x="3163183" y="1799555"/>
                <a:ext cx="684000" cy="295200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inancial Spreading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09BEA45A-BF43-0609-ABDA-867970E5D127}"/>
                </a:ext>
              </a:extLst>
            </p:cNvPr>
            <p:cNvGrpSpPr/>
            <p:nvPr/>
          </p:nvGrpSpPr>
          <p:grpSpPr>
            <a:xfrm>
              <a:off x="3163183" y="2099025"/>
              <a:ext cx="684000" cy="295200"/>
              <a:chOff x="441715" y="2041136"/>
              <a:chExt cx="828000" cy="295036"/>
            </a:xfrm>
          </p:grpSpPr>
          <p:sp>
            <p:nvSpPr>
              <p:cNvPr id="82" name="Rectangle: Rounded Corners 81">
                <a:extLst>
                  <a:ext uri="{FF2B5EF4-FFF2-40B4-BE49-F238E27FC236}">
                    <a16:creationId xmlns:a16="http://schemas.microsoft.com/office/drawing/2014/main" id="{A2103264-CEE7-E612-1D39-8EDD8964312F}"/>
                  </a:ext>
                </a:extLst>
              </p:cNvPr>
              <p:cNvSpPr/>
              <p:nvPr/>
            </p:nvSpPr>
            <p:spPr>
              <a:xfrm>
                <a:off x="441715" y="2041136"/>
                <a:ext cx="828000" cy="295036"/>
              </a:xfrm>
              <a:prstGeom prst="roundRect">
                <a:avLst/>
              </a:prstGeom>
              <a:solidFill>
                <a:schemeClr val="accent2">
                  <a:alpha val="10000"/>
                </a:schemeClr>
              </a:solidFill>
              <a:ln w="6350">
                <a:gradFill>
                  <a:gsLst>
                    <a:gs pos="0">
                      <a:schemeClr val="accent2"/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accent2"/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996A125A-DD75-6BD2-4B67-CED64FECD138}"/>
                  </a:ext>
                </a:extLst>
              </p:cNvPr>
              <p:cNvSpPr txBox="1"/>
              <p:nvPr/>
            </p:nvSpPr>
            <p:spPr>
              <a:xfrm>
                <a:off x="441715" y="2069058"/>
                <a:ext cx="828000" cy="239193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rojections, What-If &amp; Serviceability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A84005CE-B778-30E6-3C2D-00FB930A3EBC}"/>
                </a:ext>
              </a:extLst>
            </p:cNvPr>
            <p:cNvGrpSpPr/>
            <p:nvPr/>
          </p:nvGrpSpPr>
          <p:grpSpPr>
            <a:xfrm>
              <a:off x="3883002" y="1735059"/>
              <a:ext cx="684000" cy="295200"/>
              <a:chOff x="1475036" y="1704602"/>
              <a:chExt cx="846552" cy="295036"/>
            </a:xfrm>
          </p:grpSpPr>
          <p:sp>
            <p:nvSpPr>
              <p:cNvPr id="80" name="Rectangle: Rounded Corners 79">
                <a:extLst>
                  <a:ext uri="{FF2B5EF4-FFF2-40B4-BE49-F238E27FC236}">
                    <a16:creationId xmlns:a16="http://schemas.microsoft.com/office/drawing/2014/main" id="{0C170520-DE42-2D5D-18AD-E184882E49DB}"/>
                  </a:ext>
                </a:extLst>
              </p:cNvPr>
              <p:cNvSpPr/>
              <p:nvPr/>
            </p:nvSpPr>
            <p:spPr>
              <a:xfrm>
                <a:off x="1484312" y="1704602"/>
                <a:ext cx="828000" cy="295036"/>
              </a:xfrm>
              <a:prstGeom prst="roundRect">
                <a:avLst/>
              </a:prstGeom>
              <a:solidFill>
                <a:schemeClr val="accent2">
                  <a:alpha val="10000"/>
                </a:schemeClr>
              </a:solidFill>
              <a:ln w="6350">
                <a:gradFill>
                  <a:gsLst>
                    <a:gs pos="0">
                      <a:schemeClr val="accent2"/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accent2"/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EE3F7EBB-10CC-836C-ADB1-0BF75CB61436}"/>
                  </a:ext>
                </a:extLst>
              </p:cNvPr>
              <p:cNvSpPr txBox="1"/>
              <p:nvPr/>
            </p:nvSpPr>
            <p:spPr>
              <a:xfrm>
                <a:off x="1475036" y="1778690"/>
                <a:ext cx="846552" cy="146860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D, LGD &amp; ECL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89CEB648-96DD-D19B-9CB8-D6E16A58DC45}"/>
                </a:ext>
              </a:extLst>
            </p:cNvPr>
            <p:cNvGrpSpPr/>
            <p:nvPr/>
          </p:nvGrpSpPr>
          <p:grpSpPr>
            <a:xfrm>
              <a:off x="3885055" y="2099025"/>
              <a:ext cx="684000" cy="295200"/>
              <a:chOff x="1475036" y="2032014"/>
              <a:chExt cx="828000" cy="295036"/>
            </a:xfrm>
          </p:grpSpPr>
          <p:sp>
            <p:nvSpPr>
              <p:cNvPr id="78" name="Rectangle: Rounded Corners 77">
                <a:extLst>
                  <a:ext uri="{FF2B5EF4-FFF2-40B4-BE49-F238E27FC236}">
                    <a16:creationId xmlns:a16="http://schemas.microsoft.com/office/drawing/2014/main" id="{6437A386-C1B8-1544-0E3A-F4C8EF76C241}"/>
                  </a:ext>
                </a:extLst>
              </p:cNvPr>
              <p:cNvSpPr/>
              <p:nvPr/>
            </p:nvSpPr>
            <p:spPr>
              <a:xfrm>
                <a:off x="1475036" y="2032014"/>
                <a:ext cx="828000" cy="295036"/>
              </a:xfrm>
              <a:prstGeom prst="roundRect">
                <a:avLst/>
              </a:prstGeom>
              <a:solidFill>
                <a:schemeClr val="accent2">
                  <a:alpha val="10000"/>
                </a:schemeClr>
              </a:solidFill>
              <a:ln w="6350">
                <a:gradFill>
                  <a:gsLst>
                    <a:gs pos="0">
                      <a:schemeClr val="accent2"/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accent2"/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498547A7-B639-3731-0D2F-4DF637299F4B}"/>
                  </a:ext>
                </a:extLst>
              </p:cNvPr>
              <p:cNvSpPr txBox="1"/>
              <p:nvPr/>
            </p:nvSpPr>
            <p:spPr>
              <a:xfrm>
                <a:off x="1475036" y="2106102"/>
                <a:ext cx="828000" cy="146860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ress Testing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0A11711E-BD45-AA2C-3968-35F8A7222409}"/>
                </a:ext>
              </a:extLst>
            </p:cNvPr>
            <p:cNvGrpSpPr/>
            <p:nvPr/>
          </p:nvGrpSpPr>
          <p:grpSpPr>
            <a:xfrm>
              <a:off x="3166882" y="1567298"/>
              <a:ext cx="1404000" cy="167995"/>
              <a:chOff x="517006" y="1582561"/>
              <a:chExt cx="1404000" cy="167995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B08B9523-1B48-2B17-49C3-0A2E34C65D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7006" y="1666558"/>
                <a:ext cx="1404000" cy="0"/>
              </a:xfrm>
              <a:prstGeom prst="line">
                <a:avLst/>
              </a:prstGeom>
              <a:ln w="9525">
                <a:gradFill>
                  <a:gsLst>
                    <a:gs pos="60000">
                      <a:srgbClr val="153911">
                        <a:alpha val="0"/>
                      </a:srgbClr>
                    </a:gs>
                    <a:gs pos="20000">
                      <a:schemeClr val="accent2"/>
                    </a:gs>
                    <a:gs pos="40000">
                      <a:schemeClr val="tx1">
                        <a:alpha val="0"/>
                      </a:schemeClr>
                    </a:gs>
                    <a:gs pos="80000">
                      <a:schemeClr val="accent2"/>
                    </a:gs>
                  </a:gsLst>
                  <a:lin ang="10800000" scaled="0"/>
                </a:gra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0257F238-A745-26A7-5D50-5A4ADD52A309}"/>
                  </a:ext>
                </a:extLst>
              </p:cNvPr>
              <p:cNvSpPr txBox="1"/>
              <p:nvPr/>
            </p:nvSpPr>
            <p:spPr>
              <a:xfrm>
                <a:off x="653609" y="1582561"/>
                <a:ext cx="1130795" cy="1679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6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/>
                    <a:ea typeface="+mn-ea"/>
                    <a:cs typeface="+mn-cs"/>
                  </a:rPr>
                  <a:t>CREDIT</a:t>
                </a:r>
              </a:p>
            </p:txBody>
          </p:sp>
        </p:grp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560D26F0-6FDB-7B58-5911-1D8F45534C85}"/>
              </a:ext>
            </a:extLst>
          </p:cNvPr>
          <p:cNvGrpSpPr/>
          <p:nvPr/>
        </p:nvGrpSpPr>
        <p:grpSpPr>
          <a:xfrm>
            <a:off x="4707691" y="1452774"/>
            <a:ext cx="1407699" cy="826927"/>
            <a:chOff x="3163183" y="1567298"/>
            <a:chExt cx="1407699" cy="826927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E3A4FF50-8D11-035E-C458-4FDC06E03150}"/>
                </a:ext>
              </a:extLst>
            </p:cNvPr>
            <p:cNvGrpSpPr/>
            <p:nvPr/>
          </p:nvGrpSpPr>
          <p:grpSpPr>
            <a:xfrm>
              <a:off x="3163183" y="1735059"/>
              <a:ext cx="684000" cy="295200"/>
              <a:chOff x="3163183" y="1772123"/>
              <a:chExt cx="684000" cy="295200"/>
            </a:xfrm>
          </p:grpSpPr>
          <p:sp>
            <p:nvSpPr>
              <p:cNvPr id="100" name="Rectangle: Rounded Corners 99">
                <a:extLst>
                  <a:ext uri="{FF2B5EF4-FFF2-40B4-BE49-F238E27FC236}">
                    <a16:creationId xmlns:a16="http://schemas.microsoft.com/office/drawing/2014/main" id="{D74FFC80-2A08-1B80-50B1-87B775374279}"/>
                  </a:ext>
                </a:extLst>
              </p:cNvPr>
              <p:cNvSpPr/>
              <p:nvPr/>
            </p:nvSpPr>
            <p:spPr>
              <a:xfrm>
                <a:off x="3170678" y="1772123"/>
                <a:ext cx="669010" cy="295200"/>
              </a:xfrm>
              <a:prstGeom prst="roundRect">
                <a:avLst/>
              </a:prstGeom>
              <a:solidFill>
                <a:schemeClr val="bg1">
                  <a:lumMod val="95000"/>
                  <a:alpha val="10000"/>
                </a:schemeClr>
              </a:solidFill>
              <a:ln w="6350">
                <a:gradFill>
                  <a:gsLst>
                    <a:gs pos="0">
                      <a:schemeClr val="bg1">
                        <a:lumMod val="95000"/>
                      </a:schemeClr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A85D909F-BF24-2AD4-4DF6-68562F6A74FF}"/>
                  </a:ext>
                </a:extLst>
              </p:cNvPr>
              <p:cNvSpPr txBox="1"/>
              <p:nvPr/>
            </p:nvSpPr>
            <p:spPr>
              <a:xfrm>
                <a:off x="3163183" y="1799555"/>
                <a:ext cx="684000" cy="239193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gulatory Capital &amp; RWA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42EC8D58-3DEE-2852-D6A3-1399D1787166}"/>
                </a:ext>
              </a:extLst>
            </p:cNvPr>
            <p:cNvGrpSpPr/>
            <p:nvPr/>
          </p:nvGrpSpPr>
          <p:grpSpPr>
            <a:xfrm>
              <a:off x="3163183" y="2099025"/>
              <a:ext cx="684000" cy="295200"/>
              <a:chOff x="441715" y="2041136"/>
              <a:chExt cx="828000" cy="295036"/>
            </a:xfrm>
          </p:grpSpPr>
          <p:sp>
            <p:nvSpPr>
              <p:cNvPr id="98" name="Rectangle: Rounded Corners 97">
                <a:extLst>
                  <a:ext uri="{FF2B5EF4-FFF2-40B4-BE49-F238E27FC236}">
                    <a16:creationId xmlns:a16="http://schemas.microsoft.com/office/drawing/2014/main" id="{18FD4C4C-F547-7A21-108E-3E5E90875626}"/>
                  </a:ext>
                </a:extLst>
              </p:cNvPr>
              <p:cNvSpPr/>
              <p:nvPr/>
            </p:nvSpPr>
            <p:spPr>
              <a:xfrm>
                <a:off x="441715" y="2041136"/>
                <a:ext cx="828000" cy="295036"/>
              </a:xfrm>
              <a:prstGeom prst="roundRect">
                <a:avLst/>
              </a:prstGeom>
              <a:solidFill>
                <a:schemeClr val="bg1">
                  <a:lumMod val="95000"/>
                  <a:alpha val="10000"/>
                </a:schemeClr>
              </a:solidFill>
              <a:ln w="6350">
                <a:gradFill>
                  <a:gsLst>
                    <a:gs pos="0">
                      <a:schemeClr val="bg1">
                        <a:lumMod val="95000"/>
                      </a:schemeClr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D6675A48-C6AC-FD25-8AE5-7713D7C1B120}"/>
                  </a:ext>
                </a:extLst>
              </p:cNvPr>
              <p:cNvSpPr txBox="1"/>
              <p:nvPr/>
            </p:nvSpPr>
            <p:spPr>
              <a:xfrm>
                <a:off x="441715" y="2119626"/>
                <a:ext cx="828000" cy="146778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sk Allocation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CE40BAC3-152E-1EC9-2898-A45E565FDE11}"/>
                </a:ext>
              </a:extLst>
            </p:cNvPr>
            <p:cNvGrpSpPr/>
            <p:nvPr/>
          </p:nvGrpSpPr>
          <p:grpSpPr>
            <a:xfrm>
              <a:off x="3883002" y="1735059"/>
              <a:ext cx="684000" cy="295200"/>
              <a:chOff x="1475036" y="1704602"/>
              <a:chExt cx="846552" cy="295036"/>
            </a:xfrm>
          </p:grpSpPr>
          <p:sp>
            <p:nvSpPr>
              <p:cNvPr id="96" name="Rectangle: Rounded Corners 95">
                <a:extLst>
                  <a:ext uri="{FF2B5EF4-FFF2-40B4-BE49-F238E27FC236}">
                    <a16:creationId xmlns:a16="http://schemas.microsoft.com/office/drawing/2014/main" id="{74192DF0-6970-2021-BBD6-CA9AAB7856A2}"/>
                  </a:ext>
                </a:extLst>
              </p:cNvPr>
              <p:cNvSpPr/>
              <p:nvPr/>
            </p:nvSpPr>
            <p:spPr>
              <a:xfrm>
                <a:off x="1484312" y="1704602"/>
                <a:ext cx="828000" cy="295036"/>
              </a:xfrm>
              <a:prstGeom prst="roundRect">
                <a:avLst/>
              </a:prstGeom>
              <a:solidFill>
                <a:schemeClr val="bg1">
                  <a:lumMod val="95000"/>
                  <a:alpha val="10000"/>
                </a:schemeClr>
              </a:solidFill>
              <a:ln w="6350">
                <a:gradFill>
                  <a:gsLst>
                    <a:gs pos="0">
                      <a:schemeClr val="bg1">
                        <a:lumMod val="95000"/>
                      </a:schemeClr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FAEE794B-A843-5CE3-B9FE-4E12770CB64A}"/>
                  </a:ext>
                </a:extLst>
              </p:cNvPr>
              <p:cNvSpPr txBox="1"/>
              <p:nvPr/>
            </p:nvSpPr>
            <p:spPr>
              <a:xfrm>
                <a:off x="1475036" y="1778690"/>
                <a:ext cx="846552" cy="146860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conomic Capital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42836FED-A92C-963E-7016-EBCDB23BCEA7}"/>
                </a:ext>
              </a:extLst>
            </p:cNvPr>
            <p:cNvGrpSpPr/>
            <p:nvPr/>
          </p:nvGrpSpPr>
          <p:grpSpPr>
            <a:xfrm>
              <a:off x="3885055" y="2099025"/>
              <a:ext cx="684000" cy="295200"/>
              <a:chOff x="1475036" y="2032014"/>
              <a:chExt cx="828000" cy="295036"/>
            </a:xfrm>
          </p:grpSpPr>
          <p:sp>
            <p:nvSpPr>
              <p:cNvPr id="94" name="Rectangle: Rounded Corners 93">
                <a:extLst>
                  <a:ext uri="{FF2B5EF4-FFF2-40B4-BE49-F238E27FC236}">
                    <a16:creationId xmlns:a16="http://schemas.microsoft.com/office/drawing/2014/main" id="{425BEC0E-62FB-B919-DEC6-B245D6504073}"/>
                  </a:ext>
                </a:extLst>
              </p:cNvPr>
              <p:cNvSpPr/>
              <p:nvPr/>
            </p:nvSpPr>
            <p:spPr>
              <a:xfrm>
                <a:off x="1475036" y="2032014"/>
                <a:ext cx="828000" cy="295036"/>
              </a:xfrm>
              <a:prstGeom prst="roundRect">
                <a:avLst/>
              </a:prstGeom>
              <a:solidFill>
                <a:schemeClr val="bg1">
                  <a:lumMod val="95000"/>
                  <a:alpha val="10000"/>
                </a:schemeClr>
              </a:solidFill>
              <a:ln w="6350">
                <a:gradFill>
                  <a:gsLst>
                    <a:gs pos="0">
                      <a:schemeClr val="bg1">
                        <a:lumMod val="95000"/>
                      </a:schemeClr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F7AD0E5F-E89E-BCAC-A5D0-81200B6E7160}"/>
                  </a:ext>
                </a:extLst>
              </p:cNvPr>
              <p:cNvSpPr txBox="1"/>
              <p:nvPr/>
            </p:nvSpPr>
            <p:spPr>
              <a:xfrm>
                <a:off x="1475036" y="2106102"/>
                <a:ext cx="828000" cy="146860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ress Testing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C341BEB5-2DA1-B0F6-0BEB-F4FBA05514BC}"/>
                </a:ext>
              </a:extLst>
            </p:cNvPr>
            <p:cNvGrpSpPr/>
            <p:nvPr/>
          </p:nvGrpSpPr>
          <p:grpSpPr>
            <a:xfrm>
              <a:off x="3166882" y="1567298"/>
              <a:ext cx="1404000" cy="167995"/>
              <a:chOff x="517006" y="1582561"/>
              <a:chExt cx="1404000" cy="167995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58BD1349-4A18-F438-BAF9-634E0EB149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7006" y="1666558"/>
                <a:ext cx="1404000" cy="0"/>
              </a:xfrm>
              <a:prstGeom prst="line">
                <a:avLst/>
              </a:prstGeom>
              <a:ln w="9525">
                <a:gradFill>
                  <a:gsLst>
                    <a:gs pos="60000">
                      <a:srgbClr val="153911">
                        <a:alpha val="0"/>
                      </a:srgbClr>
                    </a:gs>
                    <a:gs pos="20000">
                      <a:schemeClr val="bg1">
                        <a:lumMod val="95000"/>
                      </a:schemeClr>
                    </a:gs>
                    <a:gs pos="40000">
                      <a:schemeClr val="tx1">
                        <a:alpha val="0"/>
                      </a:schemeClr>
                    </a:gs>
                    <a:gs pos="80000">
                      <a:schemeClr val="bg1">
                        <a:lumMod val="95000"/>
                      </a:schemeClr>
                    </a:gs>
                  </a:gsLst>
                  <a:lin ang="10800000" scaled="0"/>
                </a:gra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72FA9C83-1B2A-8E55-4E2B-45E596860CB9}"/>
                  </a:ext>
                </a:extLst>
              </p:cNvPr>
              <p:cNvSpPr txBox="1"/>
              <p:nvPr/>
            </p:nvSpPr>
            <p:spPr>
              <a:xfrm>
                <a:off x="653609" y="1582561"/>
                <a:ext cx="1130795" cy="1679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6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/>
                    <a:ea typeface="+mn-ea"/>
                    <a:cs typeface="+mn-cs"/>
                  </a:rPr>
                  <a:t>CAPITAL</a:t>
                </a:r>
              </a:p>
            </p:txBody>
          </p:sp>
        </p:grp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E78A8BC3-6C81-AD78-C337-A9AF00DB3C9E}"/>
              </a:ext>
            </a:extLst>
          </p:cNvPr>
          <p:cNvGrpSpPr/>
          <p:nvPr/>
        </p:nvGrpSpPr>
        <p:grpSpPr>
          <a:xfrm>
            <a:off x="6245898" y="1452774"/>
            <a:ext cx="1407699" cy="826927"/>
            <a:chOff x="3163183" y="1567298"/>
            <a:chExt cx="1407699" cy="826927"/>
          </a:xfrm>
        </p:grpSpPr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15785994-F919-D1FE-AC11-7C7F426DEFF3}"/>
                </a:ext>
              </a:extLst>
            </p:cNvPr>
            <p:cNvGrpSpPr/>
            <p:nvPr/>
          </p:nvGrpSpPr>
          <p:grpSpPr>
            <a:xfrm>
              <a:off x="3163183" y="1735059"/>
              <a:ext cx="684000" cy="295200"/>
              <a:chOff x="3163183" y="1772123"/>
              <a:chExt cx="684000" cy="295200"/>
            </a:xfrm>
          </p:grpSpPr>
          <p:sp>
            <p:nvSpPr>
              <p:cNvPr id="116" name="Rectangle: Rounded Corners 115">
                <a:extLst>
                  <a:ext uri="{FF2B5EF4-FFF2-40B4-BE49-F238E27FC236}">
                    <a16:creationId xmlns:a16="http://schemas.microsoft.com/office/drawing/2014/main" id="{F402BE4C-BB9B-FC35-580E-944DC140B15D}"/>
                  </a:ext>
                </a:extLst>
              </p:cNvPr>
              <p:cNvSpPr/>
              <p:nvPr/>
            </p:nvSpPr>
            <p:spPr>
              <a:xfrm>
                <a:off x="3170678" y="1772123"/>
                <a:ext cx="669010" cy="295200"/>
              </a:xfrm>
              <a:prstGeom prst="roundRect">
                <a:avLst/>
              </a:prstGeom>
              <a:solidFill>
                <a:schemeClr val="accent6">
                  <a:alpha val="10000"/>
                </a:schemeClr>
              </a:solidFill>
              <a:ln w="6350">
                <a:gradFill>
                  <a:gsLst>
                    <a:gs pos="0">
                      <a:schemeClr val="accent6"/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accent6"/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C12541A8-7A50-8C27-A2A4-8CC68433E690}"/>
                  </a:ext>
                </a:extLst>
              </p:cNvPr>
              <p:cNvSpPr txBox="1"/>
              <p:nvPr/>
            </p:nvSpPr>
            <p:spPr>
              <a:xfrm>
                <a:off x="3163183" y="1850152"/>
                <a:ext cx="684000" cy="146860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ales Desk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247E40EE-79F1-B005-BED3-5099895683F4}"/>
                </a:ext>
              </a:extLst>
            </p:cNvPr>
            <p:cNvGrpSpPr/>
            <p:nvPr/>
          </p:nvGrpSpPr>
          <p:grpSpPr>
            <a:xfrm>
              <a:off x="3163183" y="2099025"/>
              <a:ext cx="684000" cy="295200"/>
              <a:chOff x="441715" y="2041136"/>
              <a:chExt cx="828000" cy="295036"/>
            </a:xfrm>
          </p:grpSpPr>
          <p:sp>
            <p:nvSpPr>
              <p:cNvPr id="114" name="Rectangle: Rounded Corners 113">
                <a:extLst>
                  <a:ext uri="{FF2B5EF4-FFF2-40B4-BE49-F238E27FC236}">
                    <a16:creationId xmlns:a16="http://schemas.microsoft.com/office/drawing/2014/main" id="{242640E4-623C-ABD0-24DD-CD25A887C8AB}"/>
                  </a:ext>
                </a:extLst>
              </p:cNvPr>
              <p:cNvSpPr/>
              <p:nvPr/>
            </p:nvSpPr>
            <p:spPr>
              <a:xfrm>
                <a:off x="441715" y="2041136"/>
                <a:ext cx="828000" cy="295036"/>
              </a:xfrm>
              <a:prstGeom prst="roundRect">
                <a:avLst/>
              </a:prstGeom>
              <a:solidFill>
                <a:schemeClr val="accent6">
                  <a:alpha val="10000"/>
                </a:schemeClr>
              </a:solidFill>
              <a:ln w="6350">
                <a:gradFill>
                  <a:gsLst>
                    <a:gs pos="0">
                      <a:schemeClr val="accent6"/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accent6"/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5A0A240F-9B3E-D495-992B-D0B5A81F1CF9}"/>
                  </a:ext>
                </a:extLst>
              </p:cNvPr>
              <p:cNvSpPr txBox="1"/>
              <p:nvPr/>
            </p:nvSpPr>
            <p:spPr>
              <a:xfrm>
                <a:off x="441715" y="2069058"/>
                <a:ext cx="828000" cy="239060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Liquidity &amp; Forecasting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8716FEB4-BAD7-E01D-EE0F-F040C77D1BA5}"/>
                </a:ext>
              </a:extLst>
            </p:cNvPr>
            <p:cNvGrpSpPr/>
            <p:nvPr/>
          </p:nvGrpSpPr>
          <p:grpSpPr>
            <a:xfrm>
              <a:off x="3883002" y="1735059"/>
              <a:ext cx="684000" cy="295200"/>
              <a:chOff x="1475036" y="1704602"/>
              <a:chExt cx="846552" cy="295036"/>
            </a:xfrm>
          </p:grpSpPr>
          <p:sp>
            <p:nvSpPr>
              <p:cNvPr id="112" name="Rectangle: Rounded Corners 111">
                <a:extLst>
                  <a:ext uri="{FF2B5EF4-FFF2-40B4-BE49-F238E27FC236}">
                    <a16:creationId xmlns:a16="http://schemas.microsoft.com/office/drawing/2014/main" id="{C74ECCC1-D226-7ECA-BF8D-D3829235DF94}"/>
                  </a:ext>
                </a:extLst>
              </p:cNvPr>
              <p:cNvSpPr/>
              <p:nvPr/>
            </p:nvSpPr>
            <p:spPr>
              <a:xfrm>
                <a:off x="1484312" y="1704602"/>
                <a:ext cx="828000" cy="295036"/>
              </a:xfrm>
              <a:prstGeom prst="roundRect">
                <a:avLst/>
              </a:prstGeom>
              <a:solidFill>
                <a:schemeClr val="accent6">
                  <a:alpha val="10000"/>
                </a:schemeClr>
              </a:solidFill>
              <a:ln w="6350">
                <a:gradFill>
                  <a:gsLst>
                    <a:gs pos="0">
                      <a:schemeClr val="accent6"/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accent6"/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292D875E-69C3-580D-24EF-8298D1B0AA04}"/>
                  </a:ext>
                </a:extLst>
              </p:cNvPr>
              <p:cNvSpPr txBox="1"/>
              <p:nvPr/>
            </p:nvSpPr>
            <p:spPr>
              <a:xfrm>
                <a:off x="1475036" y="1731733"/>
                <a:ext cx="846552" cy="239060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Cash Management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8CC3906C-3CE7-27A5-C6F4-74191773CA15}"/>
                </a:ext>
              </a:extLst>
            </p:cNvPr>
            <p:cNvGrpSpPr/>
            <p:nvPr/>
          </p:nvGrpSpPr>
          <p:grpSpPr>
            <a:xfrm>
              <a:off x="3885055" y="2099025"/>
              <a:ext cx="684000" cy="295200"/>
              <a:chOff x="1475036" y="2032014"/>
              <a:chExt cx="828000" cy="295036"/>
            </a:xfrm>
          </p:grpSpPr>
          <p:sp>
            <p:nvSpPr>
              <p:cNvPr id="110" name="Rectangle: Rounded Corners 109">
                <a:extLst>
                  <a:ext uri="{FF2B5EF4-FFF2-40B4-BE49-F238E27FC236}">
                    <a16:creationId xmlns:a16="http://schemas.microsoft.com/office/drawing/2014/main" id="{B1BC363B-9115-B445-9436-838AD30C0321}"/>
                  </a:ext>
                </a:extLst>
              </p:cNvPr>
              <p:cNvSpPr/>
              <p:nvPr/>
            </p:nvSpPr>
            <p:spPr>
              <a:xfrm>
                <a:off x="1475036" y="2032014"/>
                <a:ext cx="828000" cy="295036"/>
              </a:xfrm>
              <a:prstGeom prst="roundRect">
                <a:avLst/>
              </a:prstGeom>
              <a:solidFill>
                <a:schemeClr val="accent6">
                  <a:alpha val="10000"/>
                </a:schemeClr>
              </a:solidFill>
              <a:ln w="6350">
                <a:gradFill>
                  <a:gsLst>
                    <a:gs pos="0">
                      <a:schemeClr val="accent6"/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accent6"/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1" name="TextBox 110">
                <a:extLst>
                  <a:ext uri="{FF2B5EF4-FFF2-40B4-BE49-F238E27FC236}">
                    <a16:creationId xmlns:a16="http://schemas.microsoft.com/office/drawing/2014/main" id="{2D54E54B-E664-65EE-1890-349E0EBE70DB}"/>
                  </a:ext>
                </a:extLst>
              </p:cNvPr>
              <p:cNvSpPr txBox="1"/>
              <p:nvPr/>
            </p:nvSpPr>
            <p:spPr>
              <a:xfrm>
                <a:off x="1475036" y="2062758"/>
                <a:ext cx="828000" cy="239060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edging &amp; Funding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1522900D-D508-F51D-9A6F-B5461367496F}"/>
                </a:ext>
              </a:extLst>
            </p:cNvPr>
            <p:cNvGrpSpPr/>
            <p:nvPr/>
          </p:nvGrpSpPr>
          <p:grpSpPr>
            <a:xfrm>
              <a:off x="3166882" y="1567298"/>
              <a:ext cx="1404000" cy="167995"/>
              <a:chOff x="517006" y="1582561"/>
              <a:chExt cx="1404000" cy="167995"/>
            </a:xfrm>
          </p:grpSpPr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DF1ED206-E0B1-FB01-5422-C45676551B2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7006" y="1666558"/>
                <a:ext cx="1404000" cy="0"/>
              </a:xfrm>
              <a:prstGeom prst="line">
                <a:avLst/>
              </a:prstGeom>
              <a:ln w="9525">
                <a:gradFill>
                  <a:gsLst>
                    <a:gs pos="60000">
                      <a:srgbClr val="153911">
                        <a:alpha val="0"/>
                      </a:srgbClr>
                    </a:gs>
                    <a:gs pos="20000">
                      <a:schemeClr val="accent6"/>
                    </a:gs>
                    <a:gs pos="40000">
                      <a:schemeClr val="tx1">
                        <a:alpha val="0"/>
                      </a:schemeClr>
                    </a:gs>
                    <a:gs pos="80000">
                      <a:schemeClr val="accent6"/>
                    </a:gs>
                  </a:gsLst>
                  <a:lin ang="10800000" scaled="0"/>
                </a:gra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E8C046A8-C366-EE99-BA02-0BE1436FEF26}"/>
                  </a:ext>
                </a:extLst>
              </p:cNvPr>
              <p:cNvSpPr txBox="1"/>
              <p:nvPr/>
            </p:nvSpPr>
            <p:spPr>
              <a:xfrm>
                <a:off x="653609" y="1582561"/>
                <a:ext cx="1130795" cy="1679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6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/>
                    <a:ea typeface="+mn-ea"/>
                    <a:cs typeface="+mn-cs"/>
                  </a:rPr>
                  <a:t>TREASURY</a:t>
                </a:r>
              </a:p>
            </p:txBody>
          </p:sp>
        </p:grp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18D69B59-5ECB-B63D-4E76-19F563E33557}"/>
              </a:ext>
            </a:extLst>
          </p:cNvPr>
          <p:cNvGrpSpPr/>
          <p:nvPr/>
        </p:nvGrpSpPr>
        <p:grpSpPr>
          <a:xfrm>
            <a:off x="434686" y="2738235"/>
            <a:ext cx="1870524" cy="761646"/>
            <a:chOff x="434686" y="2954148"/>
            <a:chExt cx="1870524" cy="761646"/>
          </a:xfrm>
        </p:grpSpPr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540FDF0C-459B-8D8F-C701-CBD239989F93}"/>
                </a:ext>
              </a:extLst>
            </p:cNvPr>
            <p:cNvGrpSpPr/>
            <p:nvPr/>
          </p:nvGrpSpPr>
          <p:grpSpPr>
            <a:xfrm>
              <a:off x="434687" y="3473933"/>
              <a:ext cx="1836000" cy="241861"/>
              <a:chOff x="530099" y="3476289"/>
              <a:chExt cx="1836000" cy="241861"/>
            </a:xfrm>
          </p:grpSpPr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A1AC8BCF-D17A-BC68-817D-17023DD82E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0099" y="3597219"/>
                <a:ext cx="1836000" cy="0"/>
              </a:xfrm>
              <a:prstGeom prst="line">
                <a:avLst/>
              </a:prstGeom>
              <a:ln w="9525">
                <a:gradFill>
                  <a:gsLst>
                    <a:gs pos="60000">
                      <a:srgbClr val="153911">
                        <a:alpha val="0"/>
                      </a:srgbClr>
                    </a:gs>
                    <a:gs pos="20000">
                      <a:schemeClr val="tx2">
                        <a:alpha val="80000"/>
                      </a:schemeClr>
                    </a:gs>
                    <a:gs pos="40000">
                      <a:schemeClr val="tx1">
                        <a:alpha val="0"/>
                      </a:schemeClr>
                    </a:gs>
                    <a:gs pos="80000">
                      <a:schemeClr val="tx2">
                        <a:alpha val="80000"/>
                      </a:schemeClr>
                    </a:gs>
                  </a:gsLst>
                  <a:lin ang="10800000" scaled="0"/>
                </a:gra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DBA4DB18-0101-E1E1-E616-467223CAF6E3}"/>
                  </a:ext>
                </a:extLst>
              </p:cNvPr>
              <p:cNvSpPr txBox="1"/>
              <p:nvPr/>
            </p:nvSpPr>
            <p:spPr>
              <a:xfrm>
                <a:off x="882702" y="3476289"/>
                <a:ext cx="1130795" cy="24186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6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/>
                    <a:ea typeface="+mn-ea"/>
                    <a:cs typeface="+mn-cs"/>
                  </a:rPr>
                  <a:t>SALES &amp; PROSPECTING</a:t>
                </a:r>
              </a:p>
            </p:txBody>
          </p:sp>
        </p:grpSp>
        <p:sp>
          <p:nvSpPr>
            <p:cNvPr id="120" name="Arrow: Pentagon 119">
              <a:extLst>
                <a:ext uri="{FF2B5EF4-FFF2-40B4-BE49-F238E27FC236}">
                  <a16:creationId xmlns:a16="http://schemas.microsoft.com/office/drawing/2014/main" id="{9BC8D258-B5B2-128C-2686-EFDF5DFC7F6A}"/>
                </a:ext>
              </a:extLst>
            </p:cNvPr>
            <p:cNvSpPr/>
            <p:nvPr/>
          </p:nvSpPr>
          <p:spPr>
            <a:xfrm>
              <a:off x="434686" y="2954148"/>
              <a:ext cx="666000" cy="439200"/>
            </a:xfrm>
            <a:prstGeom prst="homePlate">
              <a:avLst/>
            </a:prstGeom>
            <a:solidFill>
              <a:schemeClr val="bg2">
                <a:alpha val="40000"/>
              </a:schemeClr>
            </a:solidFill>
            <a:ln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ospecting &amp; Client Acquisition</a:t>
              </a:r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813C4755-2A09-B484-55C0-52AEA6838150}"/>
                </a:ext>
              </a:extLst>
            </p:cNvPr>
            <p:cNvGrpSpPr/>
            <p:nvPr/>
          </p:nvGrpSpPr>
          <p:grpSpPr>
            <a:xfrm>
              <a:off x="1541282" y="2954560"/>
              <a:ext cx="763928" cy="438788"/>
              <a:chOff x="1541282" y="2928776"/>
              <a:chExt cx="763928" cy="438788"/>
            </a:xfrm>
          </p:grpSpPr>
          <p:sp>
            <p:nvSpPr>
              <p:cNvPr id="125" name="Arrow: Chevron 124">
                <a:extLst>
                  <a:ext uri="{FF2B5EF4-FFF2-40B4-BE49-F238E27FC236}">
                    <a16:creationId xmlns:a16="http://schemas.microsoft.com/office/drawing/2014/main" id="{799527F9-697B-3DE0-5801-F449399FE272}"/>
                  </a:ext>
                </a:extLst>
              </p:cNvPr>
              <p:cNvSpPr/>
              <p:nvPr/>
            </p:nvSpPr>
            <p:spPr>
              <a:xfrm>
                <a:off x="1541282" y="2928776"/>
                <a:ext cx="763928" cy="438788"/>
              </a:xfrm>
              <a:prstGeom prst="chevron">
                <a:avLst/>
              </a:prstGeom>
              <a:solidFill>
                <a:schemeClr val="bg2">
                  <a:alpha val="40000"/>
                </a:schemeClr>
              </a:solidFill>
              <a:ln>
                <a:solidFill>
                  <a:schemeClr val="bg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5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37518E65-242C-3142-C8E5-F13D3683532A}"/>
                  </a:ext>
                </a:extLst>
              </p:cNvPr>
              <p:cNvSpPr txBox="1"/>
              <p:nvPr/>
            </p:nvSpPr>
            <p:spPr>
              <a:xfrm>
                <a:off x="1679327" y="3024934"/>
                <a:ext cx="576690" cy="257369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>
                        <a:lumMod val="9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re-Qualification</a:t>
                </a:r>
                <a:endParaRPr kumimoji="0" lang="en-AU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C0A9B5AD-C0EC-4357-75E3-41A8501A3E32}"/>
                </a:ext>
              </a:extLst>
            </p:cNvPr>
            <p:cNvGrpSpPr/>
            <p:nvPr/>
          </p:nvGrpSpPr>
          <p:grpSpPr>
            <a:xfrm>
              <a:off x="939020" y="2954560"/>
              <a:ext cx="763928" cy="438788"/>
              <a:chOff x="935173" y="2937888"/>
              <a:chExt cx="763928" cy="438788"/>
            </a:xfrm>
          </p:grpSpPr>
          <p:sp>
            <p:nvSpPr>
              <p:cNvPr id="123" name="Arrow: Chevron 122">
                <a:extLst>
                  <a:ext uri="{FF2B5EF4-FFF2-40B4-BE49-F238E27FC236}">
                    <a16:creationId xmlns:a16="http://schemas.microsoft.com/office/drawing/2014/main" id="{8E2E633B-519C-CA74-CFC2-49A8AC0CBA5D}"/>
                  </a:ext>
                </a:extLst>
              </p:cNvPr>
              <p:cNvSpPr/>
              <p:nvPr/>
            </p:nvSpPr>
            <p:spPr>
              <a:xfrm>
                <a:off x="935173" y="2937888"/>
                <a:ext cx="763928" cy="438788"/>
              </a:xfrm>
              <a:prstGeom prst="chevron">
                <a:avLst/>
              </a:prstGeom>
              <a:solidFill>
                <a:schemeClr val="bg2">
                  <a:alpha val="40000"/>
                </a:schemeClr>
              </a:solidFill>
              <a:ln>
                <a:solidFill>
                  <a:schemeClr val="bg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5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E4993D30-D0CA-7E57-ED70-F9BD2D1A2E99}"/>
                  </a:ext>
                </a:extLst>
              </p:cNvPr>
              <p:cNvSpPr txBox="1"/>
              <p:nvPr/>
            </p:nvSpPr>
            <p:spPr>
              <a:xfrm>
                <a:off x="1037049" y="3028598"/>
                <a:ext cx="576690" cy="257369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>
                        <a:lumMod val="9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re-Deal Pricing</a:t>
                </a:r>
                <a:endParaRPr kumimoji="0" lang="en-AU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BB4CE07B-C627-2A6D-A474-8C9E425136C6}"/>
              </a:ext>
            </a:extLst>
          </p:cNvPr>
          <p:cNvGrpSpPr/>
          <p:nvPr/>
        </p:nvGrpSpPr>
        <p:grpSpPr>
          <a:xfrm>
            <a:off x="2336515" y="2738647"/>
            <a:ext cx="2011329" cy="761234"/>
            <a:chOff x="2336515" y="2954560"/>
            <a:chExt cx="2011329" cy="761234"/>
          </a:xfrm>
        </p:grpSpPr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2C43C307-17EF-EB59-6DAC-2898CD836A98}"/>
                </a:ext>
              </a:extLst>
            </p:cNvPr>
            <p:cNvGrpSpPr/>
            <p:nvPr/>
          </p:nvGrpSpPr>
          <p:grpSpPr>
            <a:xfrm>
              <a:off x="2418525" y="3473933"/>
              <a:ext cx="1836000" cy="241861"/>
              <a:chOff x="530099" y="3476289"/>
              <a:chExt cx="1836000" cy="241861"/>
            </a:xfrm>
          </p:grpSpPr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5D0C5791-9951-4C2E-4AEB-DBEE2D4BC8A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0099" y="3597219"/>
                <a:ext cx="1836000" cy="0"/>
              </a:xfrm>
              <a:prstGeom prst="line">
                <a:avLst/>
              </a:prstGeom>
              <a:ln w="9525">
                <a:gradFill>
                  <a:gsLst>
                    <a:gs pos="60000">
                      <a:srgbClr val="153911">
                        <a:alpha val="0"/>
                      </a:srgbClr>
                    </a:gs>
                    <a:gs pos="20000">
                      <a:schemeClr val="tx2">
                        <a:alpha val="80000"/>
                      </a:schemeClr>
                    </a:gs>
                    <a:gs pos="40000">
                      <a:schemeClr val="tx1">
                        <a:alpha val="0"/>
                      </a:schemeClr>
                    </a:gs>
                    <a:gs pos="80000">
                      <a:schemeClr val="tx2">
                        <a:alpha val="80000"/>
                      </a:schemeClr>
                    </a:gs>
                  </a:gsLst>
                  <a:lin ang="10800000" scaled="0"/>
                </a:gra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1" name="TextBox 140">
                <a:extLst>
                  <a:ext uri="{FF2B5EF4-FFF2-40B4-BE49-F238E27FC236}">
                    <a16:creationId xmlns:a16="http://schemas.microsoft.com/office/drawing/2014/main" id="{4CC4FBF9-6698-2D9A-9ADB-78041A3713A3}"/>
                  </a:ext>
                </a:extLst>
              </p:cNvPr>
              <p:cNvSpPr txBox="1"/>
              <p:nvPr/>
            </p:nvSpPr>
            <p:spPr>
              <a:xfrm>
                <a:off x="882702" y="3476289"/>
                <a:ext cx="1130795" cy="24186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6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/>
                    <a:ea typeface="+mn-ea"/>
                    <a:cs typeface="+mn-cs"/>
                  </a:rPr>
                  <a:t>CREDIT REVIEW &amp; DECISIONING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B8AD18C3-1BFB-3A7D-0FA3-12F2A557332B}"/>
                </a:ext>
              </a:extLst>
            </p:cNvPr>
            <p:cNvGrpSpPr/>
            <p:nvPr/>
          </p:nvGrpSpPr>
          <p:grpSpPr>
            <a:xfrm>
              <a:off x="2336515" y="2954560"/>
              <a:ext cx="763928" cy="438788"/>
              <a:chOff x="1541282" y="2928776"/>
              <a:chExt cx="763928" cy="438788"/>
            </a:xfrm>
          </p:grpSpPr>
          <p:sp>
            <p:nvSpPr>
              <p:cNvPr id="138" name="Arrow: Chevron 137">
                <a:extLst>
                  <a:ext uri="{FF2B5EF4-FFF2-40B4-BE49-F238E27FC236}">
                    <a16:creationId xmlns:a16="http://schemas.microsoft.com/office/drawing/2014/main" id="{04099FC5-32BA-774F-909E-589632E9F2D9}"/>
                  </a:ext>
                </a:extLst>
              </p:cNvPr>
              <p:cNvSpPr/>
              <p:nvPr/>
            </p:nvSpPr>
            <p:spPr>
              <a:xfrm>
                <a:off x="1541282" y="2928776"/>
                <a:ext cx="763928" cy="438788"/>
              </a:xfrm>
              <a:prstGeom prst="chevron">
                <a:avLst/>
              </a:prstGeom>
              <a:solidFill>
                <a:schemeClr val="bg2">
                  <a:lumMod val="60000"/>
                  <a:lumOff val="40000"/>
                  <a:alpha val="40000"/>
                </a:schemeClr>
              </a:solidFill>
              <a:ln>
                <a:solidFill>
                  <a:schemeClr val="bg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5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C3B9D2A9-5A49-9ACA-0066-9A54B342D1DD}"/>
                  </a:ext>
                </a:extLst>
              </p:cNvPr>
              <p:cNvSpPr txBox="1"/>
              <p:nvPr/>
            </p:nvSpPr>
            <p:spPr>
              <a:xfrm>
                <a:off x="1679327" y="3024934"/>
                <a:ext cx="576690" cy="257369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>
                        <a:lumMod val="9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Credit Analysis</a:t>
                </a:r>
                <a:endParaRPr kumimoji="0" lang="en-AU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022C0B5B-B04E-D589-9C90-62F9802E134D}"/>
                </a:ext>
              </a:extLst>
            </p:cNvPr>
            <p:cNvGrpSpPr/>
            <p:nvPr/>
          </p:nvGrpSpPr>
          <p:grpSpPr>
            <a:xfrm>
              <a:off x="2960216" y="2954560"/>
              <a:ext cx="763928" cy="438788"/>
              <a:chOff x="1541282" y="2928776"/>
              <a:chExt cx="763928" cy="438788"/>
            </a:xfrm>
          </p:grpSpPr>
          <p:sp>
            <p:nvSpPr>
              <p:cNvPr id="136" name="Arrow: Chevron 135">
                <a:extLst>
                  <a:ext uri="{FF2B5EF4-FFF2-40B4-BE49-F238E27FC236}">
                    <a16:creationId xmlns:a16="http://schemas.microsoft.com/office/drawing/2014/main" id="{DB016ADB-4B24-5D17-27E3-49AC05C76C83}"/>
                  </a:ext>
                </a:extLst>
              </p:cNvPr>
              <p:cNvSpPr/>
              <p:nvPr/>
            </p:nvSpPr>
            <p:spPr>
              <a:xfrm>
                <a:off x="1541282" y="2928776"/>
                <a:ext cx="763928" cy="438788"/>
              </a:xfrm>
              <a:prstGeom prst="chevron">
                <a:avLst/>
              </a:prstGeom>
              <a:solidFill>
                <a:schemeClr val="bg2">
                  <a:lumMod val="60000"/>
                  <a:lumOff val="40000"/>
                  <a:alpha val="40000"/>
                </a:schemeClr>
              </a:solidFill>
              <a:ln>
                <a:solidFill>
                  <a:schemeClr val="bg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5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9009D39C-8DC9-C32E-7ED3-E5A6AF34E1CB}"/>
                  </a:ext>
                </a:extLst>
              </p:cNvPr>
              <p:cNvSpPr txBox="1"/>
              <p:nvPr/>
            </p:nvSpPr>
            <p:spPr>
              <a:xfrm>
                <a:off x="1679327" y="3024934"/>
                <a:ext cx="576690" cy="257369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>
                        <a:lumMod val="9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ating &amp; Credit Memo</a:t>
                </a:r>
                <a:endParaRPr kumimoji="0" lang="en-AU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418A7AC7-B777-84EF-C5E8-C5926E1C1D19}"/>
                </a:ext>
              </a:extLst>
            </p:cNvPr>
            <p:cNvGrpSpPr/>
            <p:nvPr/>
          </p:nvGrpSpPr>
          <p:grpSpPr>
            <a:xfrm>
              <a:off x="3583916" y="2954560"/>
              <a:ext cx="763928" cy="438788"/>
              <a:chOff x="1541282" y="2928776"/>
              <a:chExt cx="763928" cy="438788"/>
            </a:xfrm>
          </p:grpSpPr>
          <p:sp>
            <p:nvSpPr>
              <p:cNvPr id="134" name="Arrow: Chevron 133">
                <a:extLst>
                  <a:ext uri="{FF2B5EF4-FFF2-40B4-BE49-F238E27FC236}">
                    <a16:creationId xmlns:a16="http://schemas.microsoft.com/office/drawing/2014/main" id="{B8A5EF1C-B836-3B6A-B841-1ED68B634A58}"/>
                  </a:ext>
                </a:extLst>
              </p:cNvPr>
              <p:cNvSpPr/>
              <p:nvPr/>
            </p:nvSpPr>
            <p:spPr>
              <a:xfrm>
                <a:off x="1541282" y="2928776"/>
                <a:ext cx="763928" cy="438788"/>
              </a:xfrm>
              <a:prstGeom prst="chevron">
                <a:avLst/>
              </a:prstGeom>
              <a:solidFill>
                <a:schemeClr val="bg2">
                  <a:lumMod val="60000"/>
                  <a:lumOff val="40000"/>
                  <a:alpha val="40000"/>
                </a:schemeClr>
              </a:solidFill>
              <a:ln>
                <a:solidFill>
                  <a:schemeClr val="bg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5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E14BBF68-AD78-9206-1045-29181A2FBF7D}"/>
                  </a:ext>
                </a:extLst>
              </p:cNvPr>
              <p:cNvSpPr txBox="1"/>
              <p:nvPr/>
            </p:nvSpPr>
            <p:spPr>
              <a:xfrm>
                <a:off x="1679327" y="3024934"/>
                <a:ext cx="576690" cy="257369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>
                        <a:lumMod val="9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pproval &amp; Conditions</a:t>
                </a:r>
                <a:endParaRPr kumimoji="0" lang="en-AU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4BE8BE3B-AC1D-EFB9-14DF-16700F481C07}"/>
              </a:ext>
            </a:extLst>
          </p:cNvPr>
          <p:cNvGrpSpPr/>
          <p:nvPr/>
        </p:nvGrpSpPr>
        <p:grpSpPr>
          <a:xfrm>
            <a:off x="4349650" y="2744095"/>
            <a:ext cx="1986966" cy="755786"/>
            <a:chOff x="4349650" y="2960008"/>
            <a:chExt cx="1986966" cy="755786"/>
          </a:xfrm>
        </p:grpSpPr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56315E6E-F5FC-45B3-F3B0-57450EF0D500}"/>
                </a:ext>
              </a:extLst>
            </p:cNvPr>
            <p:cNvGrpSpPr/>
            <p:nvPr/>
          </p:nvGrpSpPr>
          <p:grpSpPr>
            <a:xfrm>
              <a:off x="4402363" y="3473933"/>
              <a:ext cx="1836000" cy="241861"/>
              <a:chOff x="530099" y="3476289"/>
              <a:chExt cx="1836000" cy="241861"/>
            </a:xfrm>
          </p:grpSpPr>
          <p:cxnSp>
            <p:nvCxnSpPr>
              <p:cNvPr id="153" name="Straight Connector 152">
                <a:extLst>
                  <a:ext uri="{FF2B5EF4-FFF2-40B4-BE49-F238E27FC236}">
                    <a16:creationId xmlns:a16="http://schemas.microsoft.com/office/drawing/2014/main" id="{8B4EDA3D-E0E7-F7DB-B029-1F6AEBF1B71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0099" y="3597219"/>
                <a:ext cx="1836000" cy="0"/>
              </a:xfrm>
              <a:prstGeom prst="line">
                <a:avLst/>
              </a:prstGeom>
              <a:ln w="9525">
                <a:gradFill>
                  <a:gsLst>
                    <a:gs pos="60000">
                      <a:srgbClr val="153911">
                        <a:alpha val="0"/>
                      </a:srgbClr>
                    </a:gs>
                    <a:gs pos="20000">
                      <a:schemeClr val="tx2">
                        <a:alpha val="80000"/>
                      </a:schemeClr>
                    </a:gs>
                    <a:gs pos="40000">
                      <a:schemeClr val="tx1">
                        <a:alpha val="0"/>
                      </a:schemeClr>
                    </a:gs>
                    <a:gs pos="80000">
                      <a:schemeClr val="tx2">
                        <a:alpha val="80000"/>
                      </a:schemeClr>
                    </a:gs>
                  </a:gsLst>
                  <a:lin ang="10800000" scaled="0"/>
                </a:gra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4" name="TextBox 153">
                <a:extLst>
                  <a:ext uri="{FF2B5EF4-FFF2-40B4-BE49-F238E27FC236}">
                    <a16:creationId xmlns:a16="http://schemas.microsoft.com/office/drawing/2014/main" id="{CE7B1488-D0F2-7EBF-DEE8-B4119F3BCCFA}"/>
                  </a:ext>
                </a:extLst>
              </p:cNvPr>
              <p:cNvSpPr txBox="1"/>
              <p:nvPr/>
            </p:nvSpPr>
            <p:spPr>
              <a:xfrm>
                <a:off x="882702" y="3476289"/>
                <a:ext cx="1130795" cy="24186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6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/>
                    <a:ea typeface="+mn-ea"/>
                    <a:cs typeface="+mn-cs"/>
                  </a:rPr>
                  <a:t>DOCUMENTATION &amp; BOOKING</a:t>
                </a:r>
              </a:p>
            </p:txBody>
          </p:sp>
        </p:grpSp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20E9158F-EA58-277F-FE5C-46FBC0780864}"/>
                </a:ext>
              </a:extLst>
            </p:cNvPr>
            <p:cNvGrpSpPr/>
            <p:nvPr/>
          </p:nvGrpSpPr>
          <p:grpSpPr>
            <a:xfrm>
              <a:off x="4349650" y="2960008"/>
              <a:ext cx="763928" cy="438788"/>
              <a:chOff x="1541282" y="2928776"/>
              <a:chExt cx="763928" cy="438788"/>
            </a:xfrm>
          </p:grpSpPr>
          <p:sp>
            <p:nvSpPr>
              <p:cNvPr id="151" name="Arrow: Chevron 150">
                <a:extLst>
                  <a:ext uri="{FF2B5EF4-FFF2-40B4-BE49-F238E27FC236}">
                    <a16:creationId xmlns:a16="http://schemas.microsoft.com/office/drawing/2014/main" id="{2017CF54-71B4-144B-E486-E0B95D7DB3E5}"/>
                  </a:ext>
                </a:extLst>
              </p:cNvPr>
              <p:cNvSpPr/>
              <p:nvPr/>
            </p:nvSpPr>
            <p:spPr>
              <a:xfrm>
                <a:off x="1541282" y="2928776"/>
                <a:ext cx="763928" cy="438788"/>
              </a:xfrm>
              <a:prstGeom prst="chevron">
                <a:avLst/>
              </a:prstGeom>
              <a:solidFill>
                <a:schemeClr val="accent3">
                  <a:lumMod val="60000"/>
                  <a:lumOff val="40000"/>
                  <a:alpha val="40000"/>
                </a:schemeClr>
              </a:solidFill>
              <a:ln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5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EA73D05D-2487-469A-A5F8-46696760A93F}"/>
                  </a:ext>
                </a:extLst>
              </p:cNvPr>
              <p:cNvSpPr txBox="1"/>
              <p:nvPr/>
            </p:nvSpPr>
            <p:spPr>
              <a:xfrm>
                <a:off x="1679327" y="3024934"/>
                <a:ext cx="576690" cy="257369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>
                        <a:lumMod val="9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Collateral Perfection</a:t>
                </a:r>
                <a:endParaRPr kumimoji="0" lang="en-AU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id="{E03147D5-E334-8699-E5E8-7EDCF9EB9AEF}"/>
                </a:ext>
              </a:extLst>
            </p:cNvPr>
            <p:cNvGrpSpPr/>
            <p:nvPr/>
          </p:nvGrpSpPr>
          <p:grpSpPr>
            <a:xfrm>
              <a:off x="4961169" y="2960008"/>
              <a:ext cx="763928" cy="438788"/>
              <a:chOff x="1541282" y="2928776"/>
              <a:chExt cx="763928" cy="438788"/>
            </a:xfrm>
          </p:grpSpPr>
          <p:sp>
            <p:nvSpPr>
              <p:cNvPr id="149" name="Arrow: Chevron 148">
                <a:extLst>
                  <a:ext uri="{FF2B5EF4-FFF2-40B4-BE49-F238E27FC236}">
                    <a16:creationId xmlns:a16="http://schemas.microsoft.com/office/drawing/2014/main" id="{D8C64208-725A-B482-BEE3-5D6A39B6FF97}"/>
                  </a:ext>
                </a:extLst>
              </p:cNvPr>
              <p:cNvSpPr/>
              <p:nvPr/>
            </p:nvSpPr>
            <p:spPr>
              <a:xfrm>
                <a:off x="1541282" y="2928776"/>
                <a:ext cx="763928" cy="438788"/>
              </a:xfrm>
              <a:prstGeom prst="chevron">
                <a:avLst/>
              </a:prstGeom>
              <a:solidFill>
                <a:schemeClr val="accent3">
                  <a:lumMod val="60000"/>
                  <a:lumOff val="40000"/>
                  <a:alpha val="40000"/>
                </a:schemeClr>
              </a:solidFill>
              <a:ln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5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5B128F72-9ABC-1B4F-FAD0-3556DF511862}"/>
                  </a:ext>
                </a:extLst>
              </p:cNvPr>
              <p:cNvSpPr txBox="1"/>
              <p:nvPr/>
            </p:nvSpPr>
            <p:spPr>
              <a:xfrm>
                <a:off x="1679327" y="3024934"/>
                <a:ext cx="576690" cy="257369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>
                        <a:lumMod val="9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Document </a:t>
                </a:r>
                <a:r>
                  <a:rPr kumimoji="0" lang="en-AU" sz="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>
                        <a:lumMod val="9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Mgmt</a:t>
                </a:r>
                <a:endParaRPr kumimoji="0" lang="en-AU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05D6C774-AF83-CBAE-0858-0FA220640C7F}"/>
                </a:ext>
              </a:extLst>
            </p:cNvPr>
            <p:cNvGrpSpPr/>
            <p:nvPr/>
          </p:nvGrpSpPr>
          <p:grpSpPr>
            <a:xfrm>
              <a:off x="5572688" y="2960008"/>
              <a:ext cx="763928" cy="438788"/>
              <a:chOff x="1541282" y="2928776"/>
              <a:chExt cx="763928" cy="438788"/>
            </a:xfrm>
          </p:grpSpPr>
          <p:sp>
            <p:nvSpPr>
              <p:cNvPr id="147" name="Arrow: Chevron 146">
                <a:extLst>
                  <a:ext uri="{FF2B5EF4-FFF2-40B4-BE49-F238E27FC236}">
                    <a16:creationId xmlns:a16="http://schemas.microsoft.com/office/drawing/2014/main" id="{2B6F3D31-18C4-0CC0-B432-06C42BE33A25}"/>
                  </a:ext>
                </a:extLst>
              </p:cNvPr>
              <p:cNvSpPr/>
              <p:nvPr/>
            </p:nvSpPr>
            <p:spPr>
              <a:xfrm>
                <a:off x="1541282" y="2928776"/>
                <a:ext cx="763928" cy="438788"/>
              </a:xfrm>
              <a:prstGeom prst="chevron">
                <a:avLst/>
              </a:prstGeom>
              <a:solidFill>
                <a:schemeClr val="accent3">
                  <a:lumMod val="60000"/>
                  <a:lumOff val="40000"/>
                  <a:alpha val="40000"/>
                </a:schemeClr>
              </a:solidFill>
              <a:ln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5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48" name="TextBox 147">
                <a:extLst>
                  <a:ext uri="{FF2B5EF4-FFF2-40B4-BE49-F238E27FC236}">
                    <a16:creationId xmlns:a16="http://schemas.microsoft.com/office/drawing/2014/main" id="{D315DD98-37C0-EBDB-F012-A0BCE56A93D5}"/>
                  </a:ext>
                </a:extLst>
              </p:cNvPr>
              <p:cNvSpPr txBox="1"/>
              <p:nvPr/>
            </p:nvSpPr>
            <p:spPr>
              <a:xfrm>
                <a:off x="1679327" y="3024934"/>
                <a:ext cx="576690" cy="257369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>
                        <a:lumMod val="9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tomated Boarding</a:t>
                </a:r>
                <a:endParaRPr kumimoji="0" lang="en-AU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F7613FE3-C58E-8A87-C311-480F91E47048}"/>
              </a:ext>
            </a:extLst>
          </p:cNvPr>
          <p:cNvGrpSpPr/>
          <p:nvPr/>
        </p:nvGrpSpPr>
        <p:grpSpPr>
          <a:xfrm>
            <a:off x="6326543" y="2744095"/>
            <a:ext cx="1375447" cy="755786"/>
            <a:chOff x="6326543" y="2960008"/>
            <a:chExt cx="1375447" cy="755786"/>
          </a:xfrm>
        </p:grpSpPr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98EE3311-428E-08D6-EE12-C091F61CDA01}"/>
                </a:ext>
              </a:extLst>
            </p:cNvPr>
            <p:cNvGrpSpPr/>
            <p:nvPr/>
          </p:nvGrpSpPr>
          <p:grpSpPr>
            <a:xfrm>
              <a:off x="6393597" y="3473933"/>
              <a:ext cx="1123398" cy="241861"/>
              <a:chOff x="6162487" y="3480926"/>
              <a:chExt cx="1123398" cy="241861"/>
            </a:xfrm>
          </p:grpSpPr>
          <p:cxnSp>
            <p:nvCxnSpPr>
              <p:cNvPr id="163" name="Straight Connector 162">
                <a:extLst>
                  <a:ext uri="{FF2B5EF4-FFF2-40B4-BE49-F238E27FC236}">
                    <a16:creationId xmlns:a16="http://schemas.microsoft.com/office/drawing/2014/main" id="{5A755D83-5E7B-8735-1142-DCDF2047BDB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62487" y="3601856"/>
                <a:ext cx="1116000" cy="0"/>
              </a:xfrm>
              <a:prstGeom prst="line">
                <a:avLst/>
              </a:prstGeom>
              <a:ln w="9525">
                <a:gradFill>
                  <a:gsLst>
                    <a:gs pos="70000">
                      <a:srgbClr val="153911">
                        <a:alpha val="0"/>
                      </a:srgbClr>
                    </a:gs>
                    <a:gs pos="20000">
                      <a:schemeClr val="tx2">
                        <a:alpha val="80000"/>
                      </a:schemeClr>
                    </a:gs>
                    <a:gs pos="30000">
                      <a:schemeClr val="tx1">
                        <a:alpha val="0"/>
                      </a:schemeClr>
                    </a:gs>
                    <a:gs pos="80000">
                      <a:schemeClr val="tx2">
                        <a:alpha val="80000"/>
                      </a:schemeClr>
                    </a:gs>
                  </a:gsLst>
                  <a:lin ang="10800000" scaled="0"/>
                </a:gra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DAC426FE-206D-3D90-BDAF-F1F3609FF3E2}"/>
                  </a:ext>
                </a:extLst>
              </p:cNvPr>
              <p:cNvSpPr txBox="1"/>
              <p:nvPr/>
            </p:nvSpPr>
            <p:spPr>
              <a:xfrm>
                <a:off x="6169885" y="3480926"/>
                <a:ext cx="1116000" cy="24186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6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 panose="020B0A04020102020204"/>
                    <a:ea typeface="+mn-ea"/>
                    <a:cs typeface="+mn-cs"/>
                  </a:rPr>
                  <a:t>SERVICING &amp; PORTFOLIO MGMT</a:t>
                </a:r>
              </a:p>
            </p:txBody>
          </p: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15F61859-FED2-2E91-FF59-0A81CCB42791}"/>
                </a:ext>
              </a:extLst>
            </p:cNvPr>
            <p:cNvGrpSpPr/>
            <p:nvPr/>
          </p:nvGrpSpPr>
          <p:grpSpPr>
            <a:xfrm>
              <a:off x="6326543" y="2960008"/>
              <a:ext cx="763928" cy="438788"/>
              <a:chOff x="1541282" y="2928776"/>
              <a:chExt cx="763928" cy="438788"/>
            </a:xfrm>
          </p:grpSpPr>
          <p:sp>
            <p:nvSpPr>
              <p:cNvPr id="161" name="Arrow: Chevron 160">
                <a:extLst>
                  <a:ext uri="{FF2B5EF4-FFF2-40B4-BE49-F238E27FC236}">
                    <a16:creationId xmlns:a16="http://schemas.microsoft.com/office/drawing/2014/main" id="{0ED8E93F-DD4F-5BD2-12F2-BAF7141E47EA}"/>
                  </a:ext>
                </a:extLst>
              </p:cNvPr>
              <p:cNvSpPr/>
              <p:nvPr/>
            </p:nvSpPr>
            <p:spPr>
              <a:xfrm>
                <a:off x="1541282" y="2928776"/>
                <a:ext cx="763928" cy="438788"/>
              </a:xfrm>
              <a:prstGeom prst="chevron">
                <a:avLst/>
              </a:prstGeom>
              <a:solidFill>
                <a:schemeClr val="tx2">
                  <a:lumMod val="60000"/>
                  <a:lumOff val="40000"/>
                  <a:alpha val="40000"/>
                </a:schemeClr>
              </a:solidFill>
              <a:ln>
                <a:solidFill>
                  <a:schemeClr val="bg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5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62" name="TextBox 161">
                <a:extLst>
                  <a:ext uri="{FF2B5EF4-FFF2-40B4-BE49-F238E27FC236}">
                    <a16:creationId xmlns:a16="http://schemas.microsoft.com/office/drawing/2014/main" id="{5974F93C-1706-ADA8-2163-A104C9584BE8}"/>
                  </a:ext>
                </a:extLst>
              </p:cNvPr>
              <p:cNvSpPr txBox="1"/>
              <p:nvPr/>
            </p:nvSpPr>
            <p:spPr>
              <a:xfrm>
                <a:off x="1679327" y="3024934"/>
                <a:ext cx="576690" cy="257369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>
                        <a:lumMod val="9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Document </a:t>
                </a:r>
                <a:r>
                  <a:rPr kumimoji="0" lang="en-AU" sz="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>
                        <a:lumMod val="9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Mgmt</a:t>
                </a:r>
                <a:endParaRPr kumimoji="0" lang="en-AU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B37D74B1-D854-1C6C-2458-E56895151A39}"/>
                </a:ext>
              </a:extLst>
            </p:cNvPr>
            <p:cNvGrpSpPr/>
            <p:nvPr/>
          </p:nvGrpSpPr>
          <p:grpSpPr>
            <a:xfrm>
              <a:off x="6938062" y="2960008"/>
              <a:ext cx="763928" cy="438788"/>
              <a:chOff x="1541282" y="2928776"/>
              <a:chExt cx="763928" cy="438788"/>
            </a:xfrm>
          </p:grpSpPr>
          <p:sp>
            <p:nvSpPr>
              <p:cNvPr id="159" name="Arrow: Chevron 158">
                <a:extLst>
                  <a:ext uri="{FF2B5EF4-FFF2-40B4-BE49-F238E27FC236}">
                    <a16:creationId xmlns:a16="http://schemas.microsoft.com/office/drawing/2014/main" id="{3B79383C-B6F9-D13B-6ADF-494C9FA45979}"/>
                  </a:ext>
                </a:extLst>
              </p:cNvPr>
              <p:cNvSpPr/>
              <p:nvPr/>
            </p:nvSpPr>
            <p:spPr>
              <a:xfrm>
                <a:off x="1541282" y="2928776"/>
                <a:ext cx="763928" cy="438788"/>
              </a:xfrm>
              <a:prstGeom prst="chevron">
                <a:avLst/>
              </a:prstGeom>
              <a:solidFill>
                <a:schemeClr val="tx2">
                  <a:lumMod val="60000"/>
                  <a:lumOff val="40000"/>
                  <a:alpha val="40000"/>
                </a:schemeClr>
              </a:solidFill>
              <a:ln>
                <a:solidFill>
                  <a:schemeClr val="bg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5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60" name="TextBox 159">
                <a:extLst>
                  <a:ext uri="{FF2B5EF4-FFF2-40B4-BE49-F238E27FC236}">
                    <a16:creationId xmlns:a16="http://schemas.microsoft.com/office/drawing/2014/main" id="{7A9C2216-6548-10B5-9676-83E8FF28AD92}"/>
                  </a:ext>
                </a:extLst>
              </p:cNvPr>
              <p:cNvSpPr txBox="1"/>
              <p:nvPr/>
            </p:nvSpPr>
            <p:spPr>
              <a:xfrm>
                <a:off x="1679327" y="3024934"/>
                <a:ext cx="576690" cy="257369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>
                        <a:lumMod val="9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utomated Boarding</a:t>
                </a:r>
                <a:endParaRPr kumimoji="0" lang="en-AU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65" name="Group 164">
            <a:extLst>
              <a:ext uri="{FF2B5EF4-FFF2-40B4-BE49-F238E27FC236}">
                <a16:creationId xmlns:a16="http://schemas.microsoft.com/office/drawing/2014/main" id="{11D6C9C9-3129-E1F6-5ACA-E1A61C08AA6B}"/>
              </a:ext>
            </a:extLst>
          </p:cNvPr>
          <p:cNvGrpSpPr/>
          <p:nvPr/>
        </p:nvGrpSpPr>
        <p:grpSpPr>
          <a:xfrm>
            <a:off x="434686" y="3869853"/>
            <a:ext cx="7218911" cy="575047"/>
            <a:chOff x="434686" y="3990354"/>
            <a:chExt cx="7218911" cy="575047"/>
          </a:xfrm>
        </p:grpSpPr>
        <p:grpSp>
          <p:nvGrpSpPr>
            <p:cNvPr id="166" name="Group 165">
              <a:extLst>
                <a:ext uri="{FF2B5EF4-FFF2-40B4-BE49-F238E27FC236}">
                  <a16:creationId xmlns:a16="http://schemas.microsoft.com/office/drawing/2014/main" id="{53370679-CA41-3BAC-B153-BED49A6ECC00}"/>
                </a:ext>
              </a:extLst>
            </p:cNvPr>
            <p:cNvGrpSpPr/>
            <p:nvPr/>
          </p:nvGrpSpPr>
          <p:grpSpPr>
            <a:xfrm>
              <a:off x="434686" y="3990354"/>
              <a:ext cx="828000" cy="575047"/>
              <a:chOff x="434686" y="3989001"/>
              <a:chExt cx="828000" cy="575047"/>
            </a:xfrm>
          </p:grpSpPr>
          <p:sp>
            <p:nvSpPr>
              <p:cNvPr id="185" name="Rectangle: Rounded Corners 184">
                <a:extLst>
                  <a:ext uri="{FF2B5EF4-FFF2-40B4-BE49-F238E27FC236}">
                    <a16:creationId xmlns:a16="http://schemas.microsoft.com/office/drawing/2014/main" id="{194FA668-8C30-672B-CCF7-B9B1146AA93D}"/>
                  </a:ext>
                </a:extLst>
              </p:cNvPr>
              <p:cNvSpPr/>
              <p:nvPr/>
            </p:nvSpPr>
            <p:spPr>
              <a:xfrm>
                <a:off x="434686" y="3989001"/>
                <a:ext cx="828000" cy="575047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  <a:alpha val="10000"/>
                </a:schemeClr>
              </a:solidFill>
              <a:ln w="6350">
                <a:gradFill>
                  <a:gsLst>
                    <a:gs pos="0">
                      <a:schemeClr val="accent1">
                        <a:lumMod val="20000"/>
                        <a:lumOff val="80000"/>
                      </a:schemeClr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accent1">
                        <a:lumMod val="20000"/>
                        <a:lumOff val="80000"/>
                      </a:schemeClr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86" name="TextBox 185">
                <a:extLst>
                  <a:ext uri="{FF2B5EF4-FFF2-40B4-BE49-F238E27FC236}">
                    <a16:creationId xmlns:a16="http://schemas.microsoft.com/office/drawing/2014/main" id="{B3089AC7-EAB7-FDB9-0050-D1EF8131E221}"/>
                  </a:ext>
                </a:extLst>
              </p:cNvPr>
              <p:cNvSpPr txBox="1"/>
              <p:nvPr/>
            </p:nvSpPr>
            <p:spPr>
              <a:xfrm>
                <a:off x="434686" y="4203094"/>
                <a:ext cx="828000" cy="146860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Limit &amp; Structuring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7" name="Group 166">
              <a:extLst>
                <a:ext uri="{FF2B5EF4-FFF2-40B4-BE49-F238E27FC236}">
                  <a16:creationId xmlns:a16="http://schemas.microsoft.com/office/drawing/2014/main" id="{245DD0AD-2FF7-D770-B475-777A31060D7C}"/>
                </a:ext>
              </a:extLst>
            </p:cNvPr>
            <p:cNvGrpSpPr/>
            <p:nvPr/>
          </p:nvGrpSpPr>
          <p:grpSpPr>
            <a:xfrm>
              <a:off x="1495010" y="3990354"/>
              <a:ext cx="828000" cy="575047"/>
              <a:chOff x="434686" y="3989001"/>
              <a:chExt cx="828000" cy="575047"/>
            </a:xfrm>
          </p:grpSpPr>
          <p:sp>
            <p:nvSpPr>
              <p:cNvPr id="183" name="Rectangle: Rounded Corners 182">
                <a:extLst>
                  <a:ext uri="{FF2B5EF4-FFF2-40B4-BE49-F238E27FC236}">
                    <a16:creationId xmlns:a16="http://schemas.microsoft.com/office/drawing/2014/main" id="{42667EDE-ED45-E29A-55D3-DE2A435228DF}"/>
                  </a:ext>
                </a:extLst>
              </p:cNvPr>
              <p:cNvSpPr/>
              <p:nvPr/>
            </p:nvSpPr>
            <p:spPr>
              <a:xfrm>
                <a:off x="434686" y="3989001"/>
                <a:ext cx="828000" cy="575047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  <a:alpha val="10000"/>
                </a:schemeClr>
              </a:solidFill>
              <a:ln w="6350">
                <a:gradFill>
                  <a:gsLst>
                    <a:gs pos="0">
                      <a:schemeClr val="accent1">
                        <a:lumMod val="20000"/>
                        <a:lumOff val="80000"/>
                      </a:schemeClr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accent1">
                        <a:lumMod val="20000"/>
                        <a:lumOff val="80000"/>
                      </a:schemeClr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84" name="TextBox 183">
                <a:extLst>
                  <a:ext uri="{FF2B5EF4-FFF2-40B4-BE49-F238E27FC236}">
                    <a16:creationId xmlns:a16="http://schemas.microsoft.com/office/drawing/2014/main" id="{63EBDF35-FFC8-14A5-6032-4756AF4E719A}"/>
                  </a:ext>
                </a:extLst>
              </p:cNvPr>
              <p:cNvSpPr txBox="1"/>
              <p:nvPr/>
            </p:nvSpPr>
            <p:spPr>
              <a:xfrm>
                <a:off x="434686" y="4147437"/>
                <a:ext cx="828000" cy="239193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inancial Processing &amp; Accounting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8" name="Group 167">
              <a:extLst>
                <a:ext uri="{FF2B5EF4-FFF2-40B4-BE49-F238E27FC236}">
                  <a16:creationId xmlns:a16="http://schemas.microsoft.com/office/drawing/2014/main" id="{99B6E4A5-8C07-C79F-73BE-8439FECDB905}"/>
                </a:ext>
              </a:extLst>
            </p:cNvPr>
            <p:cNvGrpSpPr/>
            <p:nvPr/>
          </p:nvGrpSpPr>
          <p:grpSpPr>
            <a:xfrm>
              <a:off x="2555334" y="3990354"/>
              <a:ext cx="837656" cy="575047"/>
              <a:chOff x="434686" y="3989001"/>
              <a:chExt cx="837656" cy="575047"/>
            </a:xfrm>
          </p:grpSpPr>
          <p:sp>
            <p:nvSpPr>
              <p:cNvPr id="181" name="Rectangle: Rounded Corners 180">
                <a:extLst>
                  <a:ext uri="{FF2B5EF4-FFF2-40B4-BE49-F238E27FC236}">
                    <a16:creationId xmlns:a16="http://schemas.microsoft.com/office/drawing/2014/main" id="{815352C3-6BC9-66CD-11E2-2972B6BC60BC}"/>
                  </a:ext>
                </a:extLst>
              </p:cNvPr>
              <p:cNvSpPr/>
              <p:nvPr/>
            </p:nvSpPr>
            <p:spPr>
              <a:xfrm>
                <a:off x="434686" y="3989001"/>
                <a:ext cx="828000" cy="575047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  <a:alpha val="10000"/>
                </a:schemeClr>
              </a:solidFill>
              <a:ln w="6350">
                <a:gradFill>
                  <a:gsLst>
                    <a:gs pos="0">
                      <a:schemeClr val="accent1">
                        <a:lumMod val="20000"/>
                        <a:lumOff val="80000"/>
                      </a:schemeClr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accent1">
                        <a:lumMod val="20000"/>
                        <a:lumOff val="80000"/>
                      </a:schemeClr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82" name="TextBox 181">
                <a:extLst>
                  <a:ext uri="{FF2B5EF4-FFF2-40B4-BE49-F238E27FC236}">
                    <a16:creationId xmlns:a16="http://schemas.microsoft.com/office/drawing/2014/main" id="{8EEBB99B-5EED-D975-842D-F9B5F0DAA601}"/>
                  </a:ext>
                </a:extLst>
              </p:cNvPr>
              <p:cNvSpPr txBox="1"/>
              <p:nvPr/>
            </p:nvSpPr>
            <p:spPr>
              <a:xfrm>
                <a:off x="444342" y="4211663"/>
                <a:ext cx="828000" cy="146860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mpairment Servicing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9D88EFA0-F109-4847-EEA4-E7B3BA1FFAAE}"/>
                </a:ext>
              </a:extLst>
            </p:cNvPr>
            <p:cNvGrpSpPr/>
            <p:nvPr/>
          </p:nvGrpSpPr>
          <p:grpSpPr>
            <a:xfrm>
              <a:off x="4685638" y="3990354"/>
              <a:ext cx="837656" cy="575047"/>
              <a:chOff x="434686" y="3989001"/>
              <a:chExt cx="837656" cy="575047"/>
            </a:xfrm>
          </p:grpSpPr>
          <p:sp>
            <p:nvSpPr>
              <p:cNvPr id="179" name="Rectangle: Rounded Corners 178">
                <a:extLst>
                  <a:ext uri="{FF2B5EF4-FFF2-40B4-BE49-F238E27FC236}">
                    <a16:creationId xmlns:a16="http://schemas.microsoft.com/office/drawing/2014/main" id="{A3B6130F-8EE4-81D1-2012-176394270901}"/>
                  </a:ext>
                </a:extLst>
              </p:cNvPr>
              <p:cNvSpPr/>
              <p:nvPr/>
            </p:nvSpPr>
            <p:spPr>
              <a:xfrm>
                <a:off x="434686" y="3989001"/>
                <a:ext cx="828000" cy="575047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  <a:alpha val="10000"/>
                </a:schemeClr>
              </a:solidFill>
              <a:ln w="6350">
                <a:gradFill>
                  <a:gsLst>
                    <a:gs pos="0">
                      <a:schemeClr val="accent1">
                        <a:lumMod val="20000"/>
                        <a:lumOff val="80000"/>
                      </a:schemeClr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accent1">
                        <a:lumMod val="20000"/>
                        <a:lumOff val="80000"/>
                      </a:schemeClr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80" name="TextBox 179">
                <a:extLst>
                  <a:ext uri="{FF2B5EF4-FFF2-40B4-BE49-F238E27FC236}">
                    <a16:creationId xmlns:a16="http://schemas.microsoft.com/office/drawing/2014/main" id="{82411C38-7E01-0AB4-4ED3-4B4A78D6B370}"/>
                  </a:ext>
                </a:extLst>
              </p:cNvPr>
              <p:cNvSpPr txBox="1"/>
              <p:nvPr/>
            </p:nvSpPr>
            <p:spPr>
              <a:xfrm>
                <a:off x="444342" y="4211663"/>
                <a:ext cx="828000" cy="146860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Monitoring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7B8F92E5-ABCC-692A-97A6-BE3664B7E463}"/>
                </a:ext>
              </a:extLst>
            </p:cNvPr>
            <p:cNvGrpSpPr/>
            <p:nvPr/>
          </p:nvGrpSpPr>
          <p:grpSpPr>
            <a:xfrm>
              <a:off x="3625314" y="3990354"/>
              <a:ext cx="828000" cy="575047"/>
              <a:chOff x="434686" y="3989001"/>
              <a:chExt cx="828000" cy="575047"/>
            </a:xfrm>
          </p:grpSpPr>
          <p:sp>
            <p:nvSpPr>
              <p:cNvPr id="177" name="Rectangle: Rounded Corners 176">
                <a:extLst>
                  <a:ext uri="{FF2B5EF4-FFF2-40B4-BE49-F238E27FC236}">
                    <a16:creationId xmlns:a16="http://schemas.microsoft.com/office/drawing/2014/main" id="{CE11DB23-131A-1390-8688-CFC53A3A312F}"/>
                  </a:ext>
                </a:extLst>
              </p:cNvPr>
              <p:cNvSpPr/>
              <p:nvPr/>
            </p:nvSpPr>
            <p:spPr>
              <a:xfrm>
                <a:off x="434686" y="3989001"/>
                <a:ext cx="828000" cy="575047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  <a:alpha val="10000"/>
                </a:schemeClr>
              </a:solidFill>
              <a:ln w="6350">
                <a:gradFill>
                  <a:gsLst>
                    <a:gs pos="0">
                      <a:schemeClr val="accent1">
                        <a:lumMod val="20000"/>
                        <a:lumOff val="80000"/>
                      </a:schemeClr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accent1">
                        <a:lumMod val="20000"/>
                        <a:lumOff val="80000"/>
                      </a:schemeClr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78" name="TextBox 177">
                <a:extLst>
                  <a:ext uri="{FF2B5EF4-FFF2-40B4-BE49-F238E27FC236}">
                    <a16:creationId xmlns:a16="http://schemas.microsoft.com/office/drawing/2014/main" id="{F36EEC87-C25D-1B81-4A64-05F3AD08B9F2}"/>
                  </a:ext>
                </a:extLst>
              </p:cNvPr>
              <p:cNvSpPr txBox="1"/>
              <p:nvPr/>
            </p:nvSpPr>
            <p:spPr>
              <a:xfrm>
                <a:off x="434686" y="4147437"/>
                <a:ext cx="828000" cy="239193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Collateral Management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71" name="Group 170">
              <a:extLst>
                <a:ext uri="{FF2B5EF4-FFF2-40B4-BE49-F238E27FC236}">
                  <a16:creationId xmlns:a16="http://schemas.microsoft.com/office/drawing/2014/main" id="{7F3E7F40-5776-0F7E-014B-A4EBAAD19876}"/>
                </a:ext>
              </a:extLst>
            </p:cNvPr>
            <p:cNvGrpSpPr/>
            <p:nvPr/>
          </p:nvGrpSpPr>
          <p:grpSpPr>
            <a:xfrm>
              <a:off x="5755618" y="3990354"/>
              <a:ext cx="828000" cy="575047"/>
              <a:chOff x="434686" y="3989001"/>
              <a:chExt cx="828000" cy="575047"/>
            </a:xfrm>
          </p:grpSpPr>
          <p:sp>
            <p:nvSpPr>
              <p:cNvPr id="175" name="Rectangle: Rounded Corners 174">
                <a:extLst>
                  <a:ext uri="{FF2B5EF4-FFF2-40B4-BE49-F238E27FC236}">
                    <a16:creationId xmlns:a16="http://schemas.microsoft.com/office/drawing/2014/main" id="{29F1C991-FD06-7286-9D6E-01785D6928A6}"/>
                  </a:ext>
                </a:extLst>
              </p:cNvPr>
              <p:cNvSpPr/>
              <p:nvPr/>
            </p:nvSpPr>
            <p:spPr>
              <a:xfrm>
                <a:off x="434686" y="3989001"/>
                <a:ext cx="828000" cy="575047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  <a:alpha val="10000"/>
                </a:schemeClr>
              </a:solidFill>
              <a:ln w="6350">
                <a:gradFill>
                  <a:gsLst>
                    <a:gs pos="0">
                      <a:schemeClr val="accent1">
                        <a:lumMod val="20000"/>
                        <a:lumOff val="80000"/>
                      </a:schemeClr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accent1">
                        <a:lumMod val="20000"/>
                        <a:lumOff val="80000"/>
                      </a:schemeClr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76" name="TextBox 175">
                <a:extLst>
                  <a:ext uri="{FF2B5EF4-FFF2-40B4-BE49-F238E27FC236}">
                    <a16:creationId xmlns:a16="http://schemas.microsoft.com/office/drawing/2014/main" id="{C106329A-659F-EF0E-D963-B6D01CE48561}"/>
                  </a:ext>
                </a:extLst>
              </p:cNvPr>
              <p:cNvSpPr txBox="1"/>
              <p:nvPr/>
            </p:nvSpPr>
            <p:spPr>
              <a:xfrm>
                <a:off x="434686" y="4147437"/>
                <a:ext cx="828000" cy="239193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Covenants &amp; Compliance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72" name="Group 171">
              <a:extLst>
                <a:ext uri="{FF2B5EF4-FFF2-40B4-BE49-F238E27FC236}">
                  <a16:creationId xmlns:a16="http://schemas.microsoft.com/office/drawing/2014/main" id="{EEC5D406-DC0D-7DC3-D57A-6551D46C8D45}"/>
                </a:ext>
              </a:extLst>
            </p:cNvPr>
            <p:cNvGrpSpPr/>
            <p:nvPr/>
          </p:nvGrpSpPr>
          <p:grpSpPr>
            <a:xfrm>
              <a:off x="6815941" y="3990354"/>
              <a:ext cx="837656" cy="575047"/>
              <a:chOff x="434686" y="3989001"/>
              <a:chExt cx="837656" cy="575047"/>
            </a:xfrm>
          </p:grpSpPr>
          <p:sp>
            <p:nvSpPr>
              <p:cNvPr id="173" name="Rectangle: Rounded Corners 172">
                <a:extLst>
                  <a:ext uri="{FF2B5EF4-FFF2-40B4-BE49-F238E27FC236}">
                    <a16:creationId xmlns:a16="http://schemas.microsoft.com/office/drawing/2014/main" id="{0807E26C-0785-00D2-DBE6-C310DDB63441}"/>
                  </a:ext>
                </a:extLst>
              </p:cNvPr>
              <p:cNvSpPr/>
              <p:nvPr/>
            </p:nvSpPr>
            <p:spPr>
              <a:xfrm>
                <a:off x="434686" y="3989001"/>
                <a:ext cx="828000" cy="575047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  <a:alpha val="10000"/>
                </a:schemeClr>
              </a:solidFill>
              <a:ln w="6350">
                <a:gradFill>
                  <a:gsLst>
                    <a:gs pos="0">
                      <a:schemeClr val="accent1">
                        <a:lumMod val="20000"/>
                        <a:lumOff val="80000"/>
                      </a:schemeClr>
                    </a:gs>
                    <a:gs pos="50000">
                      <a:schemeClr val="tx1">
                        <a:alpha val="0"/>
                      </a:schemeClr>
                    </a:gs>
                    <a:gs pos="100000">
                      <a:schemeClr val="accent1">
                        <a:lumMod val="20000"/>
                        <a:lumOff val="80000"/>
                      </a:schemeClr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/>
              <a:lstStyle/>
              <a:p>
                <a:pPr marL="0" marR="0" lvl="0" indent="0" algn="ctr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74" name="TextBox 173">
                <a:extLst>
                  <a:ext uri="{FF2B5EF4-FFF2-40B4-BE49-F238E27FC236}">
                    <a16:creationId xmlns:a16="http://schemas.microsoft.com/office/drawing/2014/main" id="{015CB686-7B54-BE54-3C40-74272953D82F}"/>
                  </a:ext>
                </a:extLst>
              </p:cNvPr>
              <p:cNvSpPr txBox="1"/>
              <p:nvPr/>
            </p:nvSpPr>
            <p:spPr>
              <a:xfrm>
                <a:off x="444342" y="4211663"/>
                <a:ext cx="828000" cy="146860"/>
              </a:xfrm>
              <a:prstGeom prst="rect">
                <a:avLst/>
              </a:prstGeom>
              <a:noFill/>
            </p:spPr>
            <p:txBody>
              <a:bodyPr wrap="square" lIns="27000" tIns="27000" rIns="27000" bIns="2700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conciliation</a:t>
                </a: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C2F83D11-3EC0-7474-1E5E-80696FC3DF2A}"/>
              </a:ext>
            </a:extLst>
          </p:cNvPr>
          <p:cNvGrpSpPr/>
          <p:nvPr/>
        </p:nvGrpSpPr>
        <p:grpSpPr>
          <a:xfrm>
            <a:off x="8103303" y="1620245"/>
            <a:ext cx="828000" cy="438386"/>
            <a:chOff x="8110971" y="1740746"/>
            <a:chExt cx="828000" cy="438386"/>
          </a:xfrm>
          <a:solidFill>
            <a:schemeClr val="accent4">
              <a:lumMod val="40000"/>
              <a:lumOff val="60000"/>
            </a:schemeClr>
          </a:solidFill>
        </p:grpSpPr>
        <p:sp>
          <p:nvSpPr>
            <p:cNvPr id="188" name="Rectangle: Rounded Corners 187">
              <a:extLst>
                <a:ext uri="{FF2B5EF4-FFF2-40B4-BE49-F238E27FC236}">
                  <a16:creationId xmlns:a16="http://schemas.microsoft.com/office/drawing/2014/main" id="{46E5DF8A-6925-BFF5-3D4D-6ADFC4F788AE}"/>
                </a:ext>
              </a:extLst>
            </p:cNvPr>
            <p:cNvSpPr/>
            <p:nvPr/>
          </p:nvSpPr>
          <p:spPr>
            <a:xfrm>
              <a:off x="8110971" y="1740746"/>
              <a:ext cx="828000" cy="438386"/>
            </a:xfrm>
            <a:prstGeom prst="round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marL="0" marR="0" lvl="0" indent="0" algn="ct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33AAA3FE-87AD-99DA-AC8C-AEF2E16238CC}"/>
                </a:ext>
              </a:extLst>
            </p:cNvPr>
            <p:cNvSpPr txBox="1"/>
            <p:nvPr/>
          </p:nvSpPr>
          <p:spPr>
            <a:xfrm>
              <a:off x="8110971" y="1840343"/>
              <a:ext cx="828000" cy="239193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lIns="27000" tIns="27000" rIns="27000" bIns="27000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yndication &amp;</a:t>
              </a:r>
            </a:p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Book Building</a:t>
              </a: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141DCC05-1831-A3C3-54B9-0049A7F9CCFD}"/>
              </a:ext>
            </a:extLst>
          </p:cNvPr>
          <p:cNvGrpSpPr/>
          <p:nvPr/>
        </p:nvGrpSpPr>
        <p:grpSpPr>
          <a:xfrm>
            <a:off x="8103303" y="2216850"/>
            <a:ext cx="828000" cy="438386"/>
            <a:chOff x="8110971" y="1740746"/>
            <a:chExt cx="828000" cy="438386"/>
          </a:xfrm>
          <a:solidFill>
            <a:schemeClr val="accent4">
              <a:lumMod val="40000"/>
              <a:lumOff val="60000"/>
            </a:schemeClr>
          </a:solidFill>
        </p:grpSpPr>
        <p:sp>
          <p:nvSpPr>
            <p:cNvPr id="191" name="Rectangle: Rounded Corners 190">
              <a:extLst>
                <a:ext uri="{FF2B5EF4-FFF2-40B4-BE49-F238E27FC236}">
                  <a16:creationId xmlns:a16="http://schemas.microsoft.com/office/drawing/2014/main" id="{F530608C-5A71-35E5-CAFD-F9BA48A2185B}"/>
                </a:ext>
              </a:extLst>
            </p:cNvPr>
            <p:cNvSpPr/>
            <p:nvPr/>
          </p:nvSpPr>
          <p:spPr>
            <a:xfrm>
              <a:off x="8110971" y="1740746"/>
              <a:ext cx="828000" cy="438386"/>
            </a:xfrm>
            <a:prstGeom prst="round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marL="0" marR="0" lvl="0" indent="0" algn="ct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39C3D7B9-E00B-EC9A-332E-9A4F0FCB3162}"/>
                </a:ext>
              </a:extLst>
            </p:cNvPr>
            <p:cNvSpPr txBox="1"/>
            <p:nvPr/>
          </p:nvSpPr>
          <p:spPr>
            <a:xfrm>
              <a:off x="8110971" y="1840343"/>
              <a:ext cx="828000" cy="239193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lIns="27000" tIns="27000" rIns="27000" bIns="27000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Document Distribution</a:t>
              </a: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(Data Room)</a:t>
              </a:r>
              <a:endParaRPr kumimoji="0" lang="en-A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93" name="Group 192">
            <a:extLst>
              <a:ext uri="{FF2B5EF4-FFF2-40B4-BE49-F238E27FC236}">
                <a16:creationId xmlns:a16="http://schemas.microsoft.com/office/drawing/2014/main" id="{144D2685-E4B8-F185-63D3-D2070BE5CFD5}"/>
              </a:ext>
            </a:extLst>
          </p:cNvPr>
          <p:cNvGrpSpPr/>
          <p:nvPr/>
        </p:nvGrpSpPr>
        <p:grpSpPr>
          <a:xfrm>
            <a:off x="8103303" y="2813455"/>
            <a:ext cx="828000" cy="438386"/>
            <a:chOff x="8110971" y="1740746"/>
            <a:chExt cx="828000" cy="438386"/>
          </a:xfrm>
          <a:solidFill>
            <a:schemeClr val="accent4">
              <a:lumMod val="40000"/>
              <a:lumOff val="60000"/>
            </a:schemeClr>
          </a:solidFill>
        </p:grpSpPr>
        <p:sp>
          <p:nvSpPr>
            <p:cNvPr id="194" name="Rectangle: Rounded Corners 193">
              <a:extLst>
                <a:ext uri="{FF2B5EF4-FFF2-40B4-BE49-F238E27FC236}">
                  <a16:creationId xmlns:a16="http://schemas.microsoft.com/office/drawing/2014/main" id="{E4410874-FFE0-A171-7DA5-18F67FD48E68}"/>
                </a:ext>
              </a:extLst>
            </p:cNvPr>
            <p:cNvSpPr/>
            <p:nvPr/>
          </p:nvSpPr>
          <p:spPr>
            <a:xfrm>
              <a:off x="8110971" y="1740746"/>
              <a:ext cx="828000" cy="438386"/>
            </a:xfrm>
            <a:prstGeom prst="round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marL="0" marR="0" lvl="0" indent="0" algn="ct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87B26721-7D68-8C30-1309-2D16929620F9}"/>
                </a:ext>
              </a:extLst>
            </p:cNvPr>
            <p:cNvSpPr txBox="1"/>
            <p:nvPr/>
          </p:nvSpPr>
          <p:spPr>
            <a:xfrm>
              <a:off x="8110971" y="1840343"/>
              <a:ext cx="828000" cy="239193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lIns="27000" tIns="27000" rIns="27000" bIns="27000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gency Deal Management</a:t>
              </a: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60B3AEE6-4624-F500-B6B6-0D047C5C7E63}"/>
              </a:ext>
            </a:extLst>
          </p:cNvPr>
          <p:cNvGrpSpPr/>
          <p:nvPr/>
        </p:nvGrpSpPr>
        <p:grpSpPr>
          <a:xfrm>
            <a:off x="8103303" y="3410060"/>
            <a:ext cx="828000" cy="438386"/>
            <a:chOff x="8110971" y="1740746"/>
            <a:chExt cx="828000" cy="438386"/>
          </a:xfrm>
          <a:solidFill>
            <a:schemeClr val="accent4">
              <a:lumMod val="40000"/>
              <a:lumOff val="60000"/>
            </a:schemeClr>
          </a:solidFill>
        </p:grpSpPr>
        <p:sp>
          <p:nvSpPr>
            <p:cNvPr id="197" name="Rectangle: Rounded Corners 196">
              <a:extLst>
                <a:ext uri="{FF2B5EF4-FFF2-40B4-BE49-F238E27FC236}">
                  <a16:creationId xmlns:a16="http://schemas.microsoft.com/office/drawing/2014/main" id="{F0A38589-13D4-5CAF-5074-9712342CF54A}"/>
                </a:ext>
              </a:extLst>
            </p:cNvPr>
            <p:cNvSpPr/>
            <p:nvPr/>
          </p:nvSpPr>
          <p:spPr>
            <a:xfrm>
              <a:off x="8110971" y="1740746"/>
              <a:ext cx="828000" cy="438386"/>
            </a:xfrm>
            <a:prstGeom prst="round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marL="0" marR="0" lvl="0" indent="0" algn="ct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1EECE3A3-EF64-916C-884F-5504C90B1F97}"/>
                </a:ext>
              </a:extLst>
            </p:cNvPr>
            <p:cNvSpPr txBox="1"/>
            <p:nvPr/>
          </p:nvSpPr>
          <p:spPr>
            <a:xfrm>
              <a:off x="8110971" y="1840343"/>
              <a:ext cx="828000" cy="239193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lIns="27000" tIns="27000" rIns="27000" bIns="27000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mendment</a:t>
              </a:r>
            </a:p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oting</a:t>
              </a: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9D016642-78A3-2DC9-2036-68325D60E94D}"/>
              </a:ext>
            </a:extLst>
          </p:cNvPr>
          <p:cNvGrpSpPr/>
          <p:nvPr/>
        </p:nvGrpSpPr>
        <p:grpSpPr>
          <a:xfrm>
            <a:off x="8103303" y="4006665"/>
            <a:ext cx="828000" cy="438386"/>
            <a:chOff x="8110971" y="1740746"/>
            <a:chExt cx="828000" cy="438386"/>
          </a:xfrm>
          <a:solidFill>
            <a:schemeClr val="accent4">
              <a:lumMod val="40000"/>
              <a:lumOff val="60000"/>
            </a:schemeClr>
          </a:solidFill>
        </p:grpSpPr>
        <p:sp>
          <p:nvSpPr>
            <p:cNvPr id="200" name="Rectangle: Rounded Corners 199">
              <a:extLst>
                <a:ext uri="{FF2B5EF4-FFF2-40B4-BE49-F238E27FC236}">
                  <a16:creationId xmlns:a16="http://schemas.microsoft.com/office/drawing/2014/main" id="{71BC389E-0BAA-45E9-B876-0EF1ED14E1A8}"/>
                </a:ext>
              </a:extLst>
            </p:cNvPr>
            <p:cNvSpPr/>
            <p:nvPr/>
          </p:nvSpPr>
          <p:spPr>
            <a:xfrm>
              <a:off x="8110971" y="1740746"/>
              <a:ext cx="828000" cy="438386"/>
            </a:xfrm>
            <a:prstGeom prst="round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marL="0" marR="0" lvl="0" indent="0" algn="ct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A5A5B1D5-1302-74A9-8F7C-0EC309729C00}"/>
                </a:ext>
              </a:extLst>
            </p:cNvPr>
            <p:cNvSpPr txBox="1"/>
            <p:nvPr/>
          </p:nvSpPr>
          <p:spPr>
            <a:xfrm>
              <a:off x="8110971" y="1840343"/>
              <a:ext cx="828000" cy="239193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lIns="27000" tIns="27000" rIns="27000" bIns="27000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econdary Loan Trad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0215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animMotion origin="layout" path="M -8.33333E-7 0.04599 L -8.33333E-7 -4.69136E-6 " pathEditMode="relative" rAng="0" ptsTypes="AA">
                                      <p:cBhvr>
                                        <p:cTn id="12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15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animMotion origin="layout" path="M -5.55556E-7 0.04598 L -5.55556E-7 3.20988E-6 " pathEditMode="relative" rAng="0" ptsTypes="AA">
                                      <p:cBhvr>
                                        <p:cTn id="20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15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animMotion origin="layout" path="M -4.44444E-6 0.04599 L -4.44444E-6 -4.81481E-6 " pathEditMode="relative" rAng="0" ptsTypes="AA">
                                      <p:cBhvr>
                                        <p:cTn id="28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15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animMotion origin="layout" path="M -4.44444E-6 0.04599 L -4.44444E-6 1.23457E-6 " pathEditMode="relative" rAng="0" ptsTypes="AA">
                                      <p:cBhvr>
                                        <p:cTn id="36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1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65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15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650"/>
                            </p:stCondLst>
                            <p:childTnLst>
                              <p:par>
                                <p:cTn id="4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150"/>
                            </p:stCondLst>
                            <p:childTnLst>
                              <p:par>
                                <p:cTn id="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3650"/>
                            </p:stCondLst>
                            <p:childTnLst>
                              <p:par>
                                <p:cTn id="5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4150"/>
                            </p:stCondLst>
                            <p:childTnLst>
                              <p:par>
                                <p:cTn id="7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4650"/>
                            </p:stCondLst>
                            <p:childTnLst>
                              <p:par>
                                <p:cTn id="7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  <p:bldP spid="15" grpId="0" animBg="1"/>
      <p:bldP spid="16" grpId="0" animBg="1"/>
      <p:bldP spid="17" grpId="0" animBg="1"/>
      <p:bldP spid="18" grpId="0"/>
      <p:bldP spid="21" grpId="0"/>
      <p:bldP spid="40" grpId="0" animBg="1"/>
      <p:bldP spid="41" grpId="0"/>
      <p:bldP spid="41" grpId="1"/>
      <p:bldP spid="42" grpId="0" animBg="1"/>
      <p:bldP spid="43" grpId="0"/>
      <p:bldP spid="43" grpId="1"/>
      <p:bldP spid="44" grpId="0" animBg="1"/>
      <p:bldP spid="45" grpId="0"/>
      <p:bldP spid="45" grpId="1"/>
      <p:bldP spid="46" grpId="0" animBg="1"/>
      <p:bldP spid="47" grpId="0"/>
      <p:bldP spid="47" grpId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2C12A7-9172-442A-8960-912641B7B260}"/>
              </a:ext>
            </a:extLst>
          </p:cNvPr>
          <p:cNvSpPr/>
          <p:nvPr/>
        </p:nvSpPr>
        <p:spPr>
          <a:xfrm>
            <a:off x="132971" y="877617"/>
            <a:ext cx="68864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-30" normalizeH="0" baseline="0" noProof="0" dirty="0">
                <a:ln>
                  <a:noFill/>
                </a:ln>
                <a:gradFill>
                  <a:gsLst>
                    <a:gs pos="92000">
                      <a:srgbClr val="4BCD3E"/>
                    </a:gs>
                    <a:gs pos="0">
                      <a:srgbClr val="285BC5"/>
                    </a:gs>
                  </a:gsLst>
                  <a:lin ang="0" scaled="0"/>
                </a:gradFill>
                <a:effectLst/>
                <a:uLnTx/>
                <a:uFillTx/>
                <a:latin typeface="Arial Black" panose="020B0604020202020204" pitchFamily="34" charset="0"/>
                <a:cs typeface="Arial"/>
              </a:rPr>
              <a:t>We Offer Modern Banking Solution for End-to-End Commercial Lending 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A014BC7-5D83-498A-A2B2-FD7614C702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613" y="295655"/>
            <a:ext cx="8199181" cy="537101"/>
          </a:xfrm>
        </p:spPr>
        <p:txBody>
          <a:bodyPr>
            <a:normAutofit/>
          </a:bodyPr>
          <a:lstStyle/>
          <a:p>
            <a:r>
              <a:rPr lang="en-GB" sz="2800" dirty="0"/>
              <a:t>FIS Commercial Lending Suite (CLS)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C2CAB5C-8C84-4D16-8D8A-CDF1F3944CA1}"/>
              </a:ext>
            </a:extLst>
          </p:cNvPr>
          <p:cNvCxnSpPr>
            <a:cxnSpLocks/>
          </p:cNvCxnSpPr>
          <p:nvPr/>
        </p:nvCxnSpPr>
        <p:spPr>
          <a:xfrm>
            <a:off x="248846" y="801964"/>
            <a:ext cx="764041" cy="0"/>
          </a:xfrm>
          <a:prstGeom prst="line">
            <a:avLst/>
          </a:prstGeom>
          <a:ln w="25400" cmpd="sng">
            <a:solidFill>
              <a:srgbClr val="41D53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7" name="Rectangle 186">
            <a:extLst>
              <a:ext uri="{FF2B5EF4-FFF2-40B4-BE49-F238E27FC236}">
                <a16:creationId xmlns:a16="http://schemas.microsoft.com/office/drawing/2014/main" id="{2D72559D-176C-40DB-BFCE-008B17EA6E1B}"/>
              </a:ext>
            </a:extLst>
          </p:cNvPr>
          <p:cNvSpPr/>
          <p:nvPr/>
        </p:nvSpPr>
        <p:spPr>
          <a:xfrm>
            <a:off x="280743" y="1679163"/>
            <a:ext cx="1272661" cy="2979295"/>
          </a:xfrm>
          <a:prstGeom prst="rect">
            <a:avLst/>
          </a:prstGeom>
          <a:solidFill>
            <a:srgbClr val="01283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49BB82D2-D04A-4AFF-B7FB-1DDFDB6DB4BA}"/>
              </a:ext>
            </a:extLst>
          </p:cNvPr>
          <p:cNvSpPr txBox="1"/>
          <p:nvPr/>
        </p:nvSpPr>
        <p:spPr>
          <a:xfrm>
            <a:off x="226613" y="2903752"/>
            <a:ext cx="1396329" cy="1749863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BCD3E"/>
                </a:solidFill>
                <a:effectLst/>
                <a:uLnTx/>
                <a:uFillTx/>
                <a:latin typeface="Arial Black" panose="020B0A04020102020204" pitchFamily="34" charset="0"/>
                <a:cs typeface="Arial"/>
              </a:rPr>
              <a:t>Origination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Engage the Client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Gather Information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Deal Structuring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Pricing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Pre-screen the Deal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Issue Term She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4BCD3E"/>
              </a:solidFill>
              <a:effectLst/>
              <a:uLnTx/>
              <a:uFillTx/>
              <a:latin typeface="Arial Black" panose="020B0A04020102020204" pitchFamily="34" charset="0"/>
              <a:cs typeface="Arial"/>
            </a:endParaRPr>
          </a:p>
        </p:txBody>
      </p:sp>
      <p:pic>
        <p:nvPicPr>
          <p:cNvPr id="189" name="Picture 18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18F9AA57-95E3-440B-B9B8-33ABA96CE7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249" y="1781735"/>
            <a:ext cx="1371600" cy="1314048"/>
          </a:xfrm>
          <a:prstGeom prst="rect">
            <a:avLst/>
          </a:prstGeom>
        </p:spPr>
      </p:pic>
      <p:sp>
        <p:nvSpPr>
          <p:cNvPr id="191" name="Rectangle 190">
            <a:extLst>
              <a:ext uri="{FF2B5EF4-FFF2-40B4-BE49-F238E27FC236}">
                <a16:creationId xmlns:a16="http://schemas.microsoft.com/office/drawing/2014/main" id="{72DAF94B-A0BC-4EDD-856E-9A5663AE22FF}"/>
              </a:ext>
            </a:extLst>
          </p:cNvPr>
          <p:cNvSpPr/>
          <p:nvPr/>
        </p:nvSpPr>
        <p:spPr>
          <a:xfrm>
            <a:off x="1754623" y="1679163"/>
            <a:ext cx="1272661" cy="297929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9C55D6A1-5C1C-4AD9-8566-339DA98CB912}"/>
              </a:ext>
            </a:extLst>
          </p:cNvPr>
          <p:cNvSpPr txBox="1"/>
          <p:nvPr/>
        </p:nvSpPr>
        <p:spPr>
          <a:xfrm>
            <a:off x="1692788" y="2900639"/>
            <a:ext cx="1396329" cy="1957612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cs typeface="Arial"/>
              </a:rPr>
              <a:t>Processing &amp; Approval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Document Verification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Financial Spreading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Risk Analysis 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Credit Reports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Fulfilment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Approval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cs typeface="Arial"/>
            </a:endParaRPr>
          </a:p>
        </p:txBody>
      </p:sp>
      <p:pic>
        <p:nvPicPr>
          <p:cNvPr id="193" name="Picture 192" descr="Icon&#10;&#10;Description automatically generated">
            <a:extLst>
              <a:ext uri="{FF2B5EF4-FFF2-40B4-BE49-F238E27FC236}">
                <a16:creationId xmlns:a16="http://schemas.microsoft.com/office/drawing/2014/main" id="{486F0F6E-613A-42CC-9F05-D04CBE70F6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153" y="1673875"/>
            <a:ext cx="1371600" cy="1371600"/>
          </a:xfrm>
          <a:prstGeom prst="rect">
            <a:avLst/>
          </a:prstGeom>
        </p:spPr>
      </p:pic>
      <p:sp>
        <p:nvSpPr>
          <p:cNvPr id="195" name="Rectangle 194">
            <a:extLst>
              <a:ext uri="{FF2B5EF4-FFF2-40B4-BE49-F238E27FC236}">
                <a16:creationId xmlns:a16="http://schemas.microsoft.com/office/drawing/2014/main" id="{F73CDB29-26FC-424F-A5F7-24C062E59F4C}"/>
              </a:ext>
            </a:extLst>
          </p:cNvPr>
          <p:cNvSpPr/>
          <p:nvPr/>
        </p:nvSpPr>
        <p:spPr>
          <a:xfrm>
            <a:off x="3228502" y="1679163"/>
            <a:ext cx="1272661" cy="297929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D5003753-F0AE-4A2C-94D5-17386E08BAD5}"/>
              </a:ext>
            </a:extLst>
          </p:cNvPr>
          <p:cNvSpPr txBox="1"/>
          <p:nvPr/>
        </p:nvSpPr>
        <p:spPr>
          <a:xfrm>
            <a:off x="3158963" y="2884599"/>
            <a:ext cx="1396329" cy="1483124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4BCD3E"/>
                </a:solidFill>
                <a:effectLst/>
                <a:uLnTx/>
                <a:uFillTx/>
                <a:latin typeface="Arial Black" panose="020B0A04020102020204" pitchFamily="34" charset="0"/>
                <a:cs typeface="Arial"/>
              </a:rPr>
              <a:t>Syndication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Primary Syndication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Assignment and Participation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Amendment Vot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4BCD3E"/>
              </a:solidFill>
              <a:effectLst/>
              <a:uLnTx/>
              <a:uFillTx/>
              <a:latin typeface="Arial Black" panose="020B0A04020102020204" pitchFamily="34" charset="0"/>
              <a:cs typeface="Arial"/>
            </a:endParaRPr>
          </a:p>
        </p:txBody>
      </p:sp>
      <p:pic>
        <p:nvPicPr>
          <p:cNvPr id="197" name="Picture 196" descr="Icon&#10;&#10;Description automatically generated">
            <a:extLst>
              <a:ext uri="{FF2B5EF4-FFF2-40B4-BE49-F238E27FC236}">
                <a16:creationId xmlns:a16="http://schemas.microsoft.com/office/drawing/2014/main" id="{AA280A89-8AD2-4922-8DCD-86BDEA3269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9032" y="1673875"/>
            <a:ext cx="1371600" cy="1371600"/>
          </a:xfrm>
          <a:prstGeom prst="rect">
            <a:avLst/>
          </a:prstGeom>
        </p:spPr>
      </p:pic>
      <p:sp>
        <p:nvSpPr>
          <p:cNvPr id="199" name="Rectangle 198">
            <a:extLst>
              <a:ext uri="{FF2B5EF4-FFF2-40B4-BE49-F238E27FC236}">
                <a16:creationId xmlns:a16="http://schemas.microsoft.com/office/drawing/2014/main" id="{A0BFFAE6-E2BE-4D25-BC0A-D412E3C0703A}"/>
              </a:ext>
            </a:extLst>
          </p:cNvPr>
          <p:cNvSpPr/>
          <p:nvPr/>
        </p:nvSpPr>
        <p:spPr>
          <a:xfrm>
            <a:off x="6176262" y="1679163"/>
            <a:ext cx="1272661" cy="297929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4CD944E3-8F50-4939-A64E-B90258CD0B2F}"/>
              </a:ext>
            </a:extLst>
          </p:cNvPr>
          <p:cNvSpPr txBox="1"/>
          <p:nvPr/>
        </p:nvSpPr>
        <p:spPr>
          <a:xfrm>
            <a:off x="6114427" y="2884599"/>
            <a:ext cx="1396329" cy="2155102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BCD3E"/>
                </a:solidFill>
                <a:effectLst/>
                <a:uLnTx/>
                <a:uFillTx/>
                <a:latin typeface="Arial Black" panose="020B0A04020102020204" pitchFamily="34" charset="0"/>
                <a:cs typeface="Arial"/>
              </a:rPr>
              <a:t>Servicing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Limits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 dirty="0">
                <a:solidFill>
                  <a:srgbClr val="FFFFFF"/>
                </a:solidFill>
                <a:latin typeface="Arial"/>
                <a:cs typeface="Arial"/>
              </a:rPr>
              <a:t>Collaterals</a:t>
            </a: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Repayments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Rollovers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Restructure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Billing / Statements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Collections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4BCD3E"/>
              </a:solidFill>
              <a:effectLst/>
              <a:uLnTx/>
              <a:uFillTx/>
              <a:latin typeface="Arial Black" panose="020B0A04020102020204" pitchFamily="34" charset="0"/>
              <a:cs typeface="Arial"/>
            </a:endParaRPr>
          </a:p>
        </p:txBody>
      </p:sp>
      <p:pic>
        <p:nvPicPr>
          <p:cNvPr id="201" name="Picture 200" descr="Icon&#10;&#10;Description automatically generated">
            <a:extLst>
              <a:ext uri="{FF2B5EF4-FFF2-40B4-BE49-F238E27FC236}">
                <a16:creationId xmlns:a16="http://schemas.microsoft.com/office/drawing/2014/main" id="{14CC4772-D4EA-44DB-A2D4-5C43BA15C1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6792" y="1673875"/>
            <a:ext cx="1371600" cy="1371600"/>
          </a:xfrm>
          <a:prstGeom prst="rect">
            <a:avLst/>
          </a:prstGeom>
        </p:spPr>
      </p:pic>
      <p:sp>
        <p:nvSpPr>
          <p:cNvPr id="203" name="Rectangle 202">
            <a:extLst>
              <a:ext uri="{FF2B5EF4-FFF2-40B4-BE49-F238E27FC236}">
                <a16:creationId xmlns:a16="http://schemas.microsoft.com/office/drawing/2014/main" id="{5A36AFC9-4039-42B3-B276-03B56F8C85B3}"/>
              </a:ext>
            </a:extLst>
          </p:cNvPr>
          <p:cNvSpPr/>
          <p:nvPr/>
        </p:nvSpPr>
        <p:spPr>
          <a:xfrm>
            <a:off x="4702382" y="1679163"/>
            <a:ext cx="1272661" cy="297929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AF6B1ADB-F428-4B52-B506-102E79B21A64}"/>
              </a:ext>
            </a:extLst>
          </p:cNvPr>
          <p:cNvSpPr txBox="1"/>
          <p:nvPr/>
        </p:nvSpPr>
        <p:spPr>
          <a:xfrm>
            <a:off x="4648405" y="2884599"/>
            <a:ext cx="1396329" cy="2160232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cs typeface="Arial"/>
              </a:rPr>
              <a:t>Closing &amp; Funding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Closing Documents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Disbursement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Deal Accounting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E-Signature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 dirty="0">
                <a:solidFill>
                  <a:schemeClr val="bg1"/>
                </a:solidFill>
                <a:latin typeface="Arial"/>
                <a:cs typeface="Arial"/>
              </a:rPr>
              <a:t>Notifications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Administration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rgbClr val="4BCD3E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cs typeface="Arial"/>
            </a:endParaRPr>
          </a:p>
        </p:txBody>
      </p:sp>
      <p:pic>
        <p:nvPicPr>
          <p:cNvPr id="205" name="Picture 204" descr="Icon&#10;&#10;Description automatically generated">
            <a:extLst>
              <a:ext uri="{FF2B5EF4-FFF2-40B4-BE49-F238E27FC236}">
                <a16:creationId xmlns:a16="http://schemas.microsoft.com/office/drawing/2014/main" id="{070EC552-D1A6-43AA-AFD5-B81D6F7FD69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2912" y="1673875"/>
            <a:ext cx="1371600" cy="1371600"/>
          </a:xfrm>
          <a:prstGeom prst="rect">
            <a:avLst/>
          </a:prstGeom>
        </p:spPr>
      </p:pic>
      <p:sp>
        <p:nvSpPr>
          <p:cNvPr id="207" name="Rectangle 206">
            <a:extLst>
              <a:ext uri="{FF2B5EF4-FFF2-40B4-BE49-F238E27FC236}">
                <a16:creationId xmlns:a16="http://schemas.microsoft.com/office/drawing/2014/main" id="{7EA47912-5B1E-4F47-B57E-BD7C7E6117A2}"/>
              </a:ext>
            </a:extLst>
          </p:cNvPr>
          <p:cNvSpPr/>
          <p:nvPr/>
        </p:nvSpPr>
        <p:spPr>
          <a:xfrm>
            <a:off x="7650143" y="1679163"/>
            <a:ext cx="1272661" cy="297929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69ADC036-207C-42D8-AC18-DE3EF8B6E6BF}"/>
              </a:ext>
            </a:extLst>
          </p:cNvPr>
          <p:cNvSpPr txBox="1"/>
          <p:nvPr/>
        </p:nvSpPr>
        <p:spPr>
          <a:xfrm>
            <a:off x="7580449" y="2827284"/>
            <a:ext cx="1396329" cy="1957612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cs typeface="Arial"/>
              </a:rPr>
              <a:t>Portfolio Management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Deal Monitoring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Reporting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Stress Testing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Pipeline Management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Early Warning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Securitiz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cs typeface="Arial"/>
            </a:endParaRPr>
          </a:p>
        </p:txBody>
      </p:sp>
      <p:pic>
        <p:nvPicPr>
          <p:cNvPr id="209" name="Picture 208">
            <a:extLst>
              <a:ext uri="{FF2B5EF4-FFF2-40B4-BE49-F238E27FC236}">
                <a16:creationId xmlns:a16="http://schemas.microsoft.com/office/drawing/2014/main" id="{3225CE57-3C89-4166-9989-D06E6FC963F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0673" y="1673875"/>
            <a:ext cx="13716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7282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2" Type="http://schemas.microsoft.com/office/2007/relationships/hdphoto" Target="../media/hdphoto1.wdp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FIS">
  <a:themeElements>
    <a:clrScheme name="FIS 2019a">
      <a:dk1>
        <a:srgbClr val="000000"/>
      </a:dk1>
      <a:lt1>
        <a:srgbClr val="FFFFFF"/>
      </a:lt1>
      <a:dk2>
        <a:srgbClr val="012834"/>
      </a:dk2>
      <a:lt2>
        <a:srgbClr val="E8DBCB"/>
      </a:lt2>
      <a:accent1>
        <a:srgbClr val="4BCD3E"/>
      </a:accent1>
      <a:accent2>
        <a:srgbClr val="015B7E"/>
      </a:accent2>
      <a:accent3>
        <a:srgbClr val="3BCFF0"/>
      </a:accent3>
      <a:accent4>
        <a:srgbClr val="285BC5"/>
      </a:accent4>
      <a:accent5>
        <a:srgbClr val="A18CDE"/>
      </a:accent5>
      <a:accent6>
        <a:srgbClr val="4C12A1"/>
      </a:accent6>
      <a:hlink>
        <a:srgbClr val="285BC5"/>
      </a:hlink>
      <a:folHlink>
        <a:srgbClr val="3BCFF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>
          <a:blip xmlns:r="http://schemas.openxmlformats.org/officeDocument/2006/relationships" r:embed="rId1" cstate="print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0000" b="-20000"/>
          </a:stretch>
        </a:blipFill>
      </a:spPr>
      <a:bodyPr/>
      <a:lstStyle>
        <a:defPPr algn="l">
          <a:defRPr dirty="0"/>
        </a:defPPr>
      </a:lstStyle>
      <a:style>
        <a:lnRef idx="2">
          <a:schemeClr val="lt1">
            <a:hueOff val="0"/>
            <a:satOff val="0"/>
            <a:lumOff val="0"/>
            <a:alphaOff val="0"/>
          </a:schemeClr>
        </a:lnRef>
        <a:fillRef idx="1">
          <a:scrgbClr r="0" g="0" b="0"/>
        </a:fillRef>
        <a:effectRef idx="0">
          <a:schemeClr val="accent1">
            <a:tint val="50000"/>
            <a:hueOff val="10242"/>
            <a:satOff val="-2272"/>
            <a:lumOff val="8105"/>
            <a:alphaOff val="0"/>
          </a:schemeClr>
        </a:effectRef>
        <a:fontRef idx="minor">
          <a:schemeClr val="lt1">
            <a:hueOff val="0"/>
            <a:satOff val="0"/>
            <a:lumOff val="0"/>
            <a:alphaOff val="0"/>
          </a:schemeClr>
        </a:fontRef>
      </a:style>
    </a:spDef>
    <a:lnDef>
      <a:spPr>
        <a:ln w="9525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IS 16x9 Presentation and Toolkit" id="{A498F7AC-CC8D-470A-92EF-D9E44327337F}" vid="{973AFD46-9208-48FE-83D3-12A733968885}"/>
    </a:ext>
  </a:extLst>
</a:theme>
</file>

<file path=ppt/theme/theme2.xml><?xml version="1.0" encoding="utf-8"?>
<a:theme xmlns:a="http://schemas.openxmlformats.org/drawingml/2006/main" name="2_Office Theme">
  <a:themeElements>
    <a:clrScheme name="FIS COLORS - 2021">
      <a:dk1>
        <a:srgbClr val="000000"/>
      </a:dk1>
      <a:lt1>
        <a:srgbClr val="FFFFFF"/>
      </a:lt1>
      <a:dk2>
        <a:srgbClr val="4BCD3E"/>
      </a:dk2>
      <a:lt2>
        <a:srgbClr val="009775"/>
      </a:lt2>
      <a:accent1>
        <a:srgbClr val="015B7E"/>
      </a:accent1>
      <a:accent2>
        <a:srgbClr val="3BCFF0"/>
      </a:accent2>
      <a:accent3>
        <a:srgbClr val="285BC5"/>
      </a:accent3>
      <a:accent4>
        <a:srgbClr val="4C12A1"/>
      </a:accent4>
      <a:accent5>
        <a:srgbClr val="FF1F3E"/>
      </a:accent5>
      <a:accent6>
        <a:srgbClr val="FCCD00"/>
      </a:accent6>
      <a:hlink>
        <a:srgbClr val="285BC5"/>
      </a:hlink>
      <a:folHlink>
        <a:srgbClr val="3BCFF0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haredContentType xmlns="Microsoft.SharePoint.Taxonomy.ContentTypeSync" SourceId="131c18cc-2474-4745-871d-6b663d645c63" ContentTypeId="0x010100B1AF7E0DF49F8B4998DFBA24D0E94F04" PreviousValue="false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212503b6b334cf5939abe2139ab9989 xmlns="27be7644-ceb4-4b99-a982-54c24b0d57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Discretionary</TermName>
          <TermId xmlns="http://schemas.microsoft.com/office/infopath/2007/PartnerControls">be304623-379d-4a0b-8bdf-b30f264f5d0f</TermId>
        </TermInfo>
      </Terms>
    </m212503b6b334cf5939abe2139ab9989>
    <p2ccda1aa538431ebdbd9aff2e618395 xmlns="27be7644-ceb4-4b99-a982-54c24b0d57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Internal Use</TermName>
          <TermId xmlns="http://schemas.microsoft.com/office/infopath/2007/PartnerControls">c3cad031-fee6-47a9-aad0-2ffea30ffed6</TermId>
        </TermInfo>
      </Terms>
    </p2ccda1aa538431ebdbd9aff2e618395>
    <d85f6d7fdfbb4fcb9928e85e20829f11 xmlns="f973b30c-1df3-4c2a-bca9-cf21b10eff93">
      <Terms xmlns="http://schemas.microsoft.com/office/infopath/2007/PartnerControls">
        <TermInfo xmlns="http://schemas.microsoft.com/office/infopath/2007/PartnerControls">
          <TermName xmlns="http://schemas.microsoft.com/office/infopath/2007/PartnerControls">General</TermName>
          <TermId xmlns="http://schemas.microsoft.com/office/infopath/2007/PartnerControls">df414748-05a1-4eef-b671-5b3efbbf31a9</TermId>
        </TermInfo>
      </Terms>
    </d85f6d7fdfbb4fcb9928e85e20829f11>
    <FIS_x0020_Templates xmlns="da2d9307-b2cc-4afe-9596-29bf38550d3c">Microsoft PowerPoint Templates</FIS_x0020_Templates>
    <TaxCatchAll xmlns="27be7644-ceb4-4b99-a982-54c24b0d5763">
      <Value>120</Value>
      <Value>118</Value>
      <Value>116</Value>
    </TaxCatchAll>
  </documentManagement>
</p:properties>
</file>

<file path=customXml/item3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Official Record" ma:contentTypeID="0x010100B1AF7E0DF49F8B4998DFBA24D0E94F0400EF6AA88B9EC56046829175579DD56F62" ma:contentTypeVersion="18" ma:contentTypeDescription="FIS official records per the Records and Retention policy.&#10;" ma:contentTypeScope="" ma:versionID="003d431b72b048a0a8de6b540c5cbdd6">
  <xsd:schema xmlns:xsd="http://www.w3.org/2001/XMLSchema" xmlns:xs="http://www.w3.org/2001/XMLSchema" xmlns:p="http://schemas.microsoft.com/office/2006/metadata/properties" xmlns:ns2="27be7644-ceb4-4b99-a982-54c24b0d5763" xmlns:ns3="f973b30c-1df3-4c2a-bca9-cf21b10eff93" xmlns:ns4="da2d9307-b2cc-4afe-9596-29bf38550d3c" targetNamespace="http://schemas.microsoft.com/office/2006/metadata/properties" ma:root="true" ma:fieldsID="9a5b38b3c82e31a9f808790e1f49f3f9" ns2:_="" ns3:_="" ns4:_="">
    <xsd:import namespace="27be7644-ceb4-4b99-a982-54c24b0d5763"/>
    <xsd:import namespace="f973b30c-1df3-4c2a-bca9-cf21b10eff93"/>
    <xsd:import namespace="da2d9307-b2cc-4afe-9596-29bf38550d3c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2:p2ccda1aa538431ebdbd9aff2e618395" minOccurs="0"/>
                <xsd:element ref="ns2:m212503b6b334cf5939abe2139ab9989" minOccurs="0"/>
                <xsd:element ref="ns3:d85f6d7fdfbb4fcb9928e85e20829f11" minOccurs="0"/>
                <xsd:element ref="ns4:FIS_x0020_Templat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be7644-ceb4-4b99-a982-54c24b0d5763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description="" ma:hidden="true" ma:list="{ee0b3923-50aa-4895-b825-540afbf82b57}" ma:internalName="TaxCatchAll" ma:showField="CatchAllData" ma:web="f973b30c-1df3-4c2a-bca9-cf21b10eff9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description="" ma:hidden="true" ma:list="{ee0b3923-50aa-4895-b825-540afbf82b57}" ma:internalName="TaxCatchAllLabel" ma:readOnly="true" ma:showField="CatchAllDataLabel" ma:web="f973b30c-1df3-4c2a-bca9-cf21b10eff9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p2ccda1aa538431ebdbd9aff2e618395" ma:index="10" ma:taxonomy="true" ma:internalName="p2ccda1aa538431ebdbd9aff2e618395" ma:taxonomyFieldName="hubDataClassification" ma:displayName="Data Classification" ma:default="120;#Internal Use|c3cad031-fee6-47a9-aad0-2ffea30ffed6" ma:fieldId="{92ccda1a-a538-431e-bdbd-9aff2e618395}" ma:sspId="131c18cc-2474-4745-871d-6b663d645c63" ma:termSetId="eb0af5e7-1eeb-4e7f-b793-c64bc7a9f48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212503b6b334cf5939abe2139ab9989" ma:index="12" ma:taxonomy="true" ma:internalName="m212503b6b334cf5939abe2139ab9989" ma:taxonomyFieldName="hubOfficialRecord" ma:displayName="Record Type" ma:default="118;#Discretionary|be304623-379d-4a0b-8bdf-b30f264f5d0f" ma:fieldId="{6212503b-6b33-4cf5-939a-be2139ab9989}" ma:sspId="131c18cc-2474-4745-871d-6b663d645c63" ma:termSetId="bd792795-f08d-4e72-bb89-f38d6c0b4877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73b30c-1df3-4c2a-bca9-cf21b10eff93" elementFormDefault="qualified">
    <xsd:import namespace="http://schemas.microsoft.com/office/2006/documentManagement/types"/>
    <xsd:import namespace="http://schemas.microsoft.com/office/infopath/2007/PartnerControls"/>
    <xsd:element name="d85f6d7fdfbb4fcb9928e85e20829f11" ma:index="14" ma:taxonomy="true" ma:internalName="d85f6d7fdfbb4fcb9928e85e20829f11" ma:taxonomyFieldName="ContentCategory1" ma:displayName="Content Category" ma:default="116;#General|df414748-05a1-4eef-b671-5b3efbbf31a9" ma:fieldId="{d85f6d7f-dfbb-4fcb-9928-e85e20829f11}" ma:sspId="131c18cc-2474-4745-871d-6b663d645c63" ma:termSetId="957a4a28-c6ea-4b9b-9330-da922fce844e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2d9307-b2cc-4afe-9596-29bf38550d3c" elementFormDefault="qualified">
    <xsd:import namespace="http://schemas.microsoft.com/office/2006/documentManagement/types"/>
    <xsd:import namespace="http://schemas.microsoft.com/office/infopath/2007/PartnerControls"/>
    <xsd:element name="FIS_x0020_Templates" ma:index="16" nillable="true" ma:displayName="FIS Templates" ma:default="Microsoft PowerPoint Templates" ma:format="Dropdown" ma:internalName="FIS_x0020_Templates">
      <xsd:simpleType>
        <xsd:restriction base="dms:Choice">
          <xsd:enumeration value="Microsoft PowerPoint Template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B29437D-41D9-4C27-B623-DA537B32671E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852C399B-0367-410E-8C4B-8240193EBC99}">
  <ds:schemaRefs>
    <ds:schemaRef ds:uri="http://schemas.microsoft.com/office/2006/metadata/properties"/>
    <ds:schemaRef ds:uri="http://schemas.microsoft.com/office/infopath/2007/PartnerControls"/>
    <ds:schemaRef ds:uri="27be7644-ceb4-4b99-a982-54c24b0d5763"/>
    <ds:schemaRef ds:uri="f973b30c-1df3-4c2a-bca9-cf21b10eff93"/>
    <ds:schemaRef ds:uri="da2d9307-b2cc-4afe-9596-29bf38550d3c"/>
  </ds:schemaRefs>
</ds:datastoreItem>
</file>

<file path=customXml/itemProps3.xml><?xml version="1.0" encoding="utf-8"?>
<ds:datastoreItem xmlns:ds="http://schemas.openxmlformats.org/officeDocument/2006/customXml" ds:itemID="{EE522693-8D09-4B82-804D-F8F7F21069C7}">
  <ds:schemaRefs>
    <ds:schemaRef ds:uri="http://schemas.microsoft.com/office/2006/metadata/customXsn"/>
  </ds:schemaRefs>
</ds:datastoreItem>
</file>

<file path=customXml/itemProps4.xml><?xml version="1.0" encoding="utf-8"?>
<ds:datastoreItem xmlns:ds="http://schemas.openxmlformats.org/officeDocument/2006/customXml" ds:itemID="{D68D4A4E-024B-4212-B82D-5D90C1A5B4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7be7644-ceb4-4b99-a982-54c24b0d5763"/>
    <ds:schemaRef ds:uri="f973b30c-1df3-4c2a-bca9-cf21b10eff93"/>
    <ds:schemaRef ds:uri="da2d9307-b2cc-4afe-9596-29bf38550d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5.xml><?xml version="1.0" encoding="utf-8"?>
<ds:datastoreItem xmlns:ds="http://schemas.openxmlformats.org/officeDocument/2006/customXml" ds:itemID="{6A6550BA-5949-41C3-B130-8B290809A20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IS 16x9 Presentation and Toolkit</Template>
  <TotalTime>8152</TotalTime>
  <Words>469</Words>
  <Application>Microsoft Office PowerPoint</Application>
  <PresentationFormat>On-screen Show (16:9)</PresentationFormat>
  <Paragraphs>191</Paragraphs>
  <Slides>1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ptos</vt:lpstr>
      <vt:lpstr>Arial</vt:lpstr>
      <vt:lpstr>Arial Black</vt:lpstr>
      <vt:lpstr>Calibri</vt:lpstr>
      <vt:lpstr>Lucida Grande</vt:lpstr>
      <vt:lpstr>Segoe UI</vt:lpstr>
      <vt:lpstr>Symbol</vt:lpstr>
      <vt:lpstr>FIS</vt:lpstr>
      <vt:lpstr>2_Office Theme</vt:lpstr>
      <vt:lpstr>think-cell Slide</vt:lpstr>
      <vt:lpstr>FIS Commercial lending suite</vt:lpstr>
      <vt:lpstr>PowerPoint Presentation</vt:lpstr>
      <vt:lpstr>PowerPoint Presentation</vt:lpstr>
      <vt:lpstr>Our  Vision</vt:lpstr>
      <vt:lpstr>PowerPoint Presentation</vt:lpstr>
      <vt:lpstr>Capital Markets Solutions Across The Money Lifecycle</vt:lpstr>
      <vt:lpstr>PowerPoint Presentation</vt:lpstr>
      <vt:lpstr>FIS LENDING ECOSYSTEM</vt:lpstr>
      <vt:lpstr>FIS Commercial Lending Suite (CLS)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S 16x9 Basic Template</dc:title>
  <dc:creator>FIS</dc:creator>
  <cp:lastModifiedBy>Aouami, Reda</cp:lastModifiedBy>
  <cp:revision>94</cp:revision>
  <dcterms:created xsi:type="dcterms:W3CDTF">2017-09-27T06:18:52Z</dcterms:created>
  <dcterms:modified xsi:type="dcterms:W3CDTF">2025-11-21T02:01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hubDataClassification">
    <vt:lpwstr>120;#Internal Use|c3cad031-fee6-47a9-aad0-2ffea30ffed6</vt:lpwstr>
  </property>
  <property fmtid="{D5CDD505-2E9C-101B-9397-08002B2CF9AE}" pid="3" name="hubOfficialRecord">
    <vt:lpwstr>118;#Discretionary|be304623-379d-4a0b-8bdf-b30f264f5d0f</vt:lpwstr>
  </property>
  <property fmtid="{D5CDD505-2E9C-101B-9397-08002B2CF9AE}" pid="4" name="ContentCategory1">
    <vt:lpwstr>116;#General|df414748-05a1-4eef-b671-5b3efbbf31a9</vt:lpwstr>
  </property>
  <property fmtid="{D5CDD505-2E9C-101B-9397-08002B2CF9AE}" pid="5" name="ContentTypeId">
    <vt:lpwstr>0x010100B1AF7E0DF49F8B4998DFBA24D0E94F0400EF6AA88B9EC56046829175579DD56F62</vt:lpwstr>
  </property>
  <property fmtid="{D5CDD505-2E9C-101B-9397-08002B2CF9AE}" pid="6" name="MSIP_Label_9e1e58c1-766d-4ff4-9619-b604fc37898b_Enabled">
    <vt:lpwstr>true</vt:lpwstr>
  </property>
  <property fmtid="{D5CDD505-2E9C-101B-9397-08002B2CF9AE}" pid="7" name="MSIP_Label_9e1e58c1-766d-4ff4-9619-b604fc37898b_SetDate">
    <vt:lpwstr>2023-02-16T13:13:14Z</vt:lpwstr>
  </property>
  <property fmtid="{D5CDD505-2E9C-101B-9397-08002B2CF9AE}" pid="8" name="MSIP_Label_9e1e58c1-766d-4ff4-9619-b604fc37898b_Method">
    <vt:lpwstr>Standard</vt:lpwstr>
  </property>
  <property fmtid="{D5CDD505-2E9C-101B-9397-08002B2CF9AE}" pid="9" name="MSIP_Label_9e1e58c1-766d-4ff4-9619-b604fc37898b_Name">
    <vt:lpwstr>Internal Use</vt:lpwstr>
  </property>
  <property fmtid="{D5CDD505-2E9C-101B-9397-08002B2CF9AE}" pid="10" name="MSIP_Label_9e1e58c1-766d-4ff4-9619-b604fc37898b_SiteId">
    <vt:lpwstr>e3ff91d8-34c8-4b15-a0b4-18910a6ac575</vt:lpwstr>
  </property>
  <property fmtid="{D5CDD505-2E9C-101B-9397-08002B2CF9AE}" pid="11" name="MSIP_Label_9e1e58c1-766d-4ff4-9619-b604fc37898b_ActionId">
    <vt:lpwstr>179b8070-7762-47f7-bbe6-b9c11b9cb112</vt:lpwstr>
  </property>
  <property fmtid="{D5CDD505-2E9C-101B-9397-08002B2CF9AE}" pid="12" name="MSIP_Label_9e1e58c1-766d-4ff4-9619-b604fc37898b_ContentBits">
    <vt:lpwstr>0</vt:lpwstr>
  </property>
</Properties>
</file>